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heme/themeOverride2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13" r:id="rId3"/>
    <p:sldMasterId id="2147483773" r:id="rId4"/>
    <p:sldMasterId id="2147483788" r:id="rId5"/>
    <p:sldMasterId id="2147483801" r:id="rId6"/>
  </p:sldMasterIdLst>
  <p:notesMasterIdLst>
    <p:notesMasterId r:id="rId34"/>
  </p:notesMasterIdLst>
  <p:sldIdLst>
    <p:sldId id="335" r:id="rId7"/>
    <p:sldId id="336" r:id="rId8"/>
    <p:sldId id="337" r:id="rId9"/>
    <p:sldId id="308" r:id="rId10"/>
    <p:sldId id="321" r:id="rId11"/>
    <p:sldId id="324" r:id="rId12"/>
    <p:sldId id="325" r:id="rId13"/>
    <p:sldId id="316" r:id="rId14"/>
    <p:sldId id="327" r:id="rId15"/>
    <p:sldId id="309" r:id="rId16"/>
    <p:sldId id="348" r:id="rId17"/>
    <p:sldId id="349" r:id="rId18"/>
    <p:sldId id="350" r:id="rId19"/>
    <p:sldId id="351" r:id="rId20"/>
    <p:sldId id="352" r:id="rId21"/>
    <p:sldId id="353" r:id="rId22"/>
    <p:sldId id="354" r:id="rId23"/>
    <p:sldId id="320" r:id="rId24"/>
    <p:sldId id="332" r:id="rId25"/>
    <p:sldId id="333" r:id="rId26"/>
    <p:sldId id="334" r:id="rId27"/>
    <p:sldId id="330" r:id="rId28"/>
    <p:sldId id="355" r:id="rId29"/>
    <p:sldId id="356" r:id="rId30"/>
    <p:sldId id="357" r:id="rId31"/>
    <p:sldId id="358" r:id="rId32"/>
    <p:sldId id="295" r:id="rId3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56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821" autoAdjust="0"/>
  </p:normalViewPr>
  <p:slideViewPr>
    <p:cSldViewPr snapToGrid="0" showGuides="1">
      <p:cViewPr>
        <p:scale>
          <a:sx n="120" d="100"/>
          <a:sy n="120" d="100"/>
        </p:scale>
        <p:origin x="-114" y="-48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8B1866-1873-4427-8BA4-0D2EED7B4488}" type="datetimeFigureOut">
              <a:rPr lang="ru-RU" smtClean="0"/>
              <a:pPr/>
              <a:t>30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D1C866-AEDB-4F37-B909-07416BB0364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1499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479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D1C866-AEDB-4F37-B909-07416BB0364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9835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C1C645-F9B1-4671-8D11-A44362C70C2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95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ЯГПУ им. К.Д. Ушинского является федеральной инновационной площадкой и реализует инновационный проект «Трансфер образовательных технологий: региональные модели управления развитием образования в условиях сетевого партнерства». 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4CA7-EB9E-4E4A-97A5-4A9F6E1FB87B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415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нотированный каталог (характеристика)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аталоге представлено 109 научно-методических разработок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чественный состав разработок: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60% - учебно-методические разработки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% - научные статьи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% - описание педагогического опыта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% - фрагменты авторефератов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% - аналитические отчеты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% - учебные материалы к уроку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пользовано более 50 ключевых слов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дставлено краткое описание  методик, систем, приемов, дидактических решений, экспертная оценка качества заданий и границ их применимости, рекомендации по применению материалов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43A663-DA2A-4C8A-9DF3-9C9C1635D906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3613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ль работы:  Провести анализ различных источников в области развития читательской грамотности обучающихся среднего звена и разработать аннотированный каталог научно-методических ресурсов для использования субъектами ЕФС при повышении профессионального мастерства педагогических работников и управленческих кадров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43A663-DA2A-4C8A-9DF3-9C9C1635D906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0396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итерии отбора источников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меющиеся, в источнике данные соответствуют современным научным представлениям о функциональной грамотности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меющаяся в источнике информация расширяет представления об исследуемом объекте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вторская интерпретация не нарушает целостность представлений о функциональной грамотности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ложенная в источнике информация доступна для понимания, соответствует терминологии, используемой в концепции функциональной грамотности, расширяет тезаурус исследуемой области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точник содержит описание нового (авторского) дидактического решения (приёма, метода, методики, технологии и т. п.), направленного на формирование функциональной грамотност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43A663-DA2A-4C8A-9DF3-9C9C1635D906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27384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ниверсальным и системообразующим компонентом функциональной грамотности выступает читательская грамотность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владение научно-методическими способами конструирования заданий по читательской грамотности, их использования в развитии и диагностике образовательных достижений учащихся помогает педагогам далее овладеть инструментами формирования других грамотностей (математической, естественно-научной и финансовой), погрузиться в проблематику «новых грамотностей» (креативное мышление и глобальные компетенции) и тем самым – развивать свои профессиональные компетенции и повышать качество образовательного процесса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43A663-DA2A-4C8A-9DF3-9C9C1635D906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15817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актические</a:t>
            </a:r>
            <a:r>
              <a:rPr lang="ru-RU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езультаты работы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представлены практические материалы, разработанные и апробированные по результатам последних научных исследований;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сделана компактная подборка наиболее актуальных информационных ресурсов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определено практическое назначение научно-методических разработок для использования при разработке и реализации дополнительных профессиональных программ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выделен список ведущих авторов, специализирующихся на разработке  темы развития читательской грамотности обучающихся среднего звена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43A663-DA2A-4C8A-9DF3-9C9C1635D906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7748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начение выполненной работы для субъектов ЕФС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управленцев: использование для работы с аналитическими материалами, подготовки инструктивных материалов, принятия управленческих решений, создания условий для формирования читательской грамотности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методистов: использование для разработки и реализации ДПП, учебно-методических материалов для семинаров, мастер-классов, подготовки методических писем, пособий, диагностических материалов, информационных баз и др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педагогов: подготовки к учебным и внеурочным занятиям, для разработки авторских дидактических решений, проведения диагностики результатов обучающихся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43A663-DA2A-4C8A-9DF3-9C9C1635D906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8354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675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fld id="{430FCBE3-26B4-46EE-B11B-4863D135E3BF}" type="slidenum">
              <a:rPr lang="ru-RU" altLang="ru-RU">
                <a:solidFill>
                  <a:prstClr val="black"/>
                </a:solidFill>
              </a:rPr>
              <a:pPr/>
              <a:t>18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409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5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22148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1383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4348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Автор и дата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Автор и дата</a:t>
            </a:r>
          </a:p>
        </p:txBody>
      </p:sp>
      <p:sp>
        <p:nvSpPr>
          <p:cNvPr id="12" name="Заголовок презентации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Заголовок презентации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Подзаголовок презентации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657765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">
            <a:extLst>
              <a:ext uri="{FF2B5EF4-FFF2-40B4-BE49-F238E27FC236}">
                <a16:creationId xmlns:a16="http://schemas.microsoft.com/office/drawing/2014/main" xmlns="" id="{0412CB3E-9937-42A9-B827-78E6248848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218" y="2401368"/>
            <a:ext cx="6937490" cy="1890546"/>
          </a:xfrm>
        </p:spPr>
        <p:txBody>
          <a:bodyPr anchor="t">
            <a:noAutofit/>
          </a:bodyPr>
          <a:lstStyle>
            <a:lvl1pPr>
              <a:lnSpc>
                <a:spcPts val="5200"/>
              </a:lnSpc>
              <a:defRPr sz="550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1">
            <a:extLst>
              <a:ext uri="{FF2B5EF4-FFF2-40B4-BE49-F238E27FC236}">
                <a16:creationId xmlns:a16="http://schemas.microsoft.com/office/drawing/2014/main" xmlns="" id="{9A0DA8F2-C5CE-404A-90DA-FE51BF11B3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0218" y="4383464"/>
            <a:ext cx="5794048" cy="1594518"/>
          </a:xfrm>
        </p:spPr>
        <p:txBody>
          <a:bodyPr>
            <a:noAutofit/>
          </a:bodyPr>
          <a:lstStyle>
            <a:lvl1pPr>
              <a:lnSpc>
                <a:spcPts val="2700"/>
              </a:lnSpc>
              <a:defRPr sz="2000" b="0" spc="-40" baseline="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xmlns="" id="{5CDD4BFF-601E-47BE-90F6-22F3E1B641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0218" y="504202"/>
            <a:ext cx="3648920" cy="384798"/>
          </a:xfrm>
        </p:spPr>
        <p:txBody>
          <a:bodyPr>
            <a:normAutofit/>
          </a:bodyPr>
          <a:lstStyle>
            <a:lvl1pPr>
              <a:defRPr sz="19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5" name="Картинка 1">
            <a:extLst>
              <a:ext uri="{FF2B5EF4-FFF2-40B4-BE49-F238E27FC236}">
                <a16:creationId xmlns:a16="http://schemas.microsoft.com/office/drawing/2014/main" xmlns="" id="{46C829E6-56BF-4ECA-B62F-203FE84C4B4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5257" y="715301"/>
            <a:ext cx="5326743" cy="6142699"/>
          </a:xfrm>
          <a:custGeom>
            <a:avLst/>
            <a:gdLst>
              <a:gd name="connsiteX0" fmla="*/ 0 w 6996364"/>
              <a:gd name="connsiteY0" fmla="*/ 3546692 h 7093384"/>
              <a:gd name="connsiteX1" fmla="*/ 3498182 w 6996364"/>
              <a:gd name="connsiteY1" fmla="*/ 0 h 7093384"/>
              <a:gd name="connsiteX2" fmla="*/ 6996364 w 6996364"/>
              <a:gd name="connsiteY2" fmla="*/ 3546692 h 7093384"/>
              <a:gd name="connsiteX3" fmla="*/ 3498182 w 6996364"/>
              <a:gd name="connsiteY3" fmla="*/ 7093384 h 7093384"/>
              <a:gd name="connsiteX4" fmla="*/ 0 w 6996364"/>
              <a:gd name="connsiteY4" fmla="*/ 3546692 h 7093384"/>
              <a:gd name="connsiteX0" fmla="*/ 3498182 w 6996364"/>
              <a:gd name="connsiteY0" fmla="*/ 7093384 h 7184824"/>
              <a:gd name="connsiteX1" fmla="*/ 0 w 6996364"/>
              <a:gd name="connsiteY1" fmla="*/ 3546692 h 7184824"/>
              <a:gd name="connsiteX2" fmla="*/ 3498182 w 6996364"/>
              <a:gd name="connsiteY2" fmla="*/ 0 h 7184824"/>
              <a:gd name="connsiteX3" fmla="*/ 6996364 w 6996364"/>
              <a:gd name="connsiteY3" fmla="*/ 3546692 h 7184824"/>
              <a:gd name="connsiteX4" fmla="*/ 3589622 w 6996364"/>
              <a:gd name="connsiteY4" fmla="*/ 7184824 h 7184824"/>
              <a:gd name="connsiteX0" fmla="*/ 2612810 w 6996364"/>
              <a:gd name="connsiteY0" fmla="*/ 6178984 h 7184824"/>
              <a:gd name="connsiteX1" fmla="*/ 0 w 6996364"/>
              <a:gd name="connsiteY1" fmla="*/ 3546692 h 7184824"/>
              <a:gd name="connsiteX2" fmla="*/ 3498182 w 6996364"/>
              <a:gd name="connsiteY2" fmla="*/ 0 h 7184824"/>
              <a:gd name="connsiteX3" fmla="*/ 6996364 w 6996364"/>
              <a:gd name="connsiteY3" fmla="*/ 3546692 h 7184824"/>
              <a:gd name="connsiteX4" fmla="*/ 3589622 w 6996364"/>
              <a:gd name="connsiteY4" fmla="*/ 7184824 h 7184824"/>
              <a:gd name="connsiteX0" fmla="*/ 2612810 w 6996364"/>
              <a:gd name="connsiteY0" fmla="*/ 6178984 h 6197853"/>
              <a:gd name="connsiteX1" fmla="*/ 0 w 6996364"/>
              <a:gd name="connsiteY1" fmla="*/ 3546692 h 6197853"/>
              <a:gd name="connsiteX2" fmla="*/ 3498182 w 6996364"/>
              <a:gd name="connsiteY2" fmla="*/ 0 h 6197853"/>
              <a:gd name="connsiteX3" fmla="*/ 6996364 w 6996364"/>
              <a:gd name="connsiteY3" fmla="*/ 3546692 h 6197853"/>
              <a:gd name="connsiteX4" fmla="*/ 4387908 w 6996364"/>
              <a:gd name="connsiteY4" fmla="*/ 6197853 h 6197853"/>
              <a:gd name="connsiteX0" fmla="*/ 2612810 w 6996364"/>
              <a:gd name="connsiteY0" fmla="*/ 6178984 h 6197853"/>
              <a:gd name="connsiteX1" fmla="*/ 0 w 6996364"/>
              <a:gd name="connsiteY1" fmla="*/ 3546692 h 6197853"/>
              <a:gd name="connsiteX2" fmla="*/ 3498182 w 6996364"/>
              <a:gd name="connsiteY2" fmla="*/ 0 h 6197853"/>
              <a:gd name="connsiteX3" fmla="*/ 6996364 w 6996364"/>
              <a:gd name="connsiteY3" fmla="*/ 3546692 h 6197853"/>
              <a:gd name="connsiteX4" fmla="*/ 4387908 w 6996364"/>
              <a:gd name="connsiteY4" fmla="*/ 6197853 h 6197853"/>
              <a:gd name="connsiteX5" fmla="*/ 2612810 w 6996364"/>
              <a:gd name="connsiteY5" fmla="*/ 6178984 h 6197853"/>
              <a:gd name="connsiteX0" fmla="*/ 6996364 w 7087804"/>
              <a:gd name="connsiteY0" fmla="*/ 3546692 h 6197853"/>
              <a:gd name="connsiteX1" fmla="*/ 4387908 w 7087804"/>
              <a:gd name="connsiteY1" fmla="*/ 6197853 h 6197853"/>
              <a:gd name="connsiteX2" fmla="*/ 2612810 w 7087804"/>
              <a:gd name="connsiteY2" fmla="*/ 6178984 h 6197853"/>
              <a:gd name="connsiteX3" fmla="*/ 0 w 7087804"/>
              <a:gd name="connsiteY3" fmla="*/ 3546692 h 6197853"/>
              <a:gd name="connsiteX4" fmla="*/ 3498182 w 7087804"/>
              <a:gd name="connsiteY4" fmla="*/ 0 h 6197853"/>
              <a:gd name="connsiteX5" fmla="*/ 7087804 w 7087804"/>
              <a:gd name="connsiteY5" fmla="*/ 3638132 h 6197853"/>
              <a:gd name="connsiteX0" fmla="*/ 6996364 w 6996364"/>
              <a:gd name="connsiteY0" fmla="*/ 3546692 h 6197853"/>
              <a:gd name="connsiteX1" fmla="*/ 4387908 w 6996364"/>
              <a:gd name="connsiteY1" fmla="*/ 6197853 h 6197853"/>
              <a:gd name="connsiteX2" fmla="*/ 2612810 w 6996364"/>
              <a:gd name="connsiteY2" fmla="*/ 6178984 h 6197853"/>
              <a:gd name="connsiteX3" fmla="*/ 0 w 6996364"/>
              <a:gd name="connsiteY3" fmla="*/ 3546692 h 6197853"/>
              <a:gd name="connsiteX4" fmla="*/ 3498182 w 6996364"/>
              <a:gd name="connsiteY4" fmla="*/ 0 h 6197853"/>
              <a:gd name="connsiteX5" fmla="*/ 5317061 w 6996364"/>
              <a:gd name="connsiteY5" fmla="*/ 1852875 h 6197853"/>
              <a:gd name="connsiteX0" fmla="*/ 5283679 w 5317061"/>
              <a:gd name="connsiteY0" fmla="*/ 5273892 h 6197853"/>
              <a:gd name="connsiteX1" fmla="*/ 4387908 w 5317061"/>
              <a:gd name="connsiteY1" fmla="*/ 6197853 h 6197853"/>
              <a:gd name="connsiteX2" fmla="*/ 2612810 w 5317061"/>
              <a:gd name="connsiteY2" fmla="*/ 6178984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12810 w 5317061"/>
              <a:gd name="connsiteY2" fmla="*/ 6178984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12810 w 5317061"/>
              <a:gd name="connsiteY2" fmla="*/ 6187601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21356 w 5317061"/>
              <a:gd name="connsiteY2" fmla="*/ 6196218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21356 w 5317061"/>
              <a:gd name="connsiteY2" fmla="*/ 6196218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317863 w 5317863"/>
              <a:gd name="connsiteY0" fmla="*/ 5248042 h 6197853"/>
              <a:gd name="connsiteX1" fmla="*/ 4379362 w 5317863"/>
              <a:gd name="connsiteY1" fmla="*/ 6197853 h 6197853"/>
              <a:gd name="connsiteX2" fmla="*/ 2621356 w 5317863"/>
              <a:gd name="connsiteY2" fmla="*/ 6196218 h 6197853"/>
              <a:gd name="connsiteX3" fmla="*/ 0 w 5317863"/>
              <a:gd name="connsiteY3" fmla="*/ 3546692 h 6197853"/>
              <a:gd name="connsiteX4" fmla="*/ 3498182 w 5317863"/>
              <a:gd name="connsiteY4" fmla="*/ 0 h 6197853"/>
              <a:gd name="connsiteX5" fmla="*/ 5317061 w 5317863"/>
              <a:gd name="connsiteY5" fmla="*/ 1852875 h 6197853"/>
              <a:gd name="connsiteX0" fmla="*/ 5317863 w 5317863"/>
              <a:gd name="connsiteY0" fmla="*/ 5248042 h 6197853"/>
              <a:gd name="connsiteX1" fmla="*/ 4379362 w 5317863"/>
              <a:gd name="connsiteY1" fmla="*/ 6197853 h 6197853"/>
              <a:gd name="connsiteX2" fmla="*/ 2621356 w 5317863"/>
              <a:gd name="connsiteY2" fmla="*/ 6196218 h 6197853"/>
              <a:gd name="connsiteX3" fmla="*/ 0 w 5317863"/>
              <a:gd name="connsiteY3" fmla="*/ 3546692 h 6197853"/>
              <a:gd name="connsiteX4" fmla="*/ 3498182 w 5317863"/>
              <a:gd name="connsiteY4" fmla="*/ 0 h 6197853"/>
              <a:gd name="connsiteX5" fmla="*/ 5317061 w 5317863"/>
              <a:gd name="connsiteY5" fmla="*/ 1852875 h 6197853"/>
              <a:gd name="connsiteX0" fmla="*/ 5317863 w 5317863"/>
              <a:gd name="connsiteY0" fmla="*/ 5248042 h 6196218"/>
              <a:gd name="connsiteX1" fmla="*/ 4384124 w 5317863"/>
              <a:gd name="connsiteY1" fmla="*/ 6195451 h 6196218"/>
              <a:gd name="connsiteX2" fmla="*/ 2621356 w 5317863"/>
              <a:gd name="connsiteY2" fmla="*/ 6196218 h 6196218"/>
              <a:gd name="connsiteX3" fmla="*/ 0 w 5317863"/>
              <a:gd name="connsiteY3" fmla="*/ 3546692 h 6196218"/>
              <a:gd name="connsiteX4" fmla="*/ 3498182 w 5317863"/>
              <a:gd name="connsiteY4" fmla="*/ 0 h 6196218"/>
              <a:gd name="connsiteX5" fmla="*/ 5317061 w 5317863"/>
              <a:gd name="connsiteY5" fmla="*/ 1852875 h 6196218"/>
              <a:gd name="connsiteX0" fmla="*/ 5317863 w 5317863"/>
              <a:gd name="connsiteY0" fmla="*/ 5248042 h 6196218"/>
              <a:gd name="connsiteX1" fmla="*/ 4384124 w 5317863"/>
              <a:gd name="connsiteY1" fmla="*/ 6195451 h 6196218"/>
              <a:gd name="connsiteX2" fmla="*/ 2618975 w 5317863"/>
              <a:gd name="connsiteY2" fmla="*/ 6196218 h 6196218"/>
              <a:gd name="connsiteX3" fmla="*/ 0 w 5317863"/>
              <a:gd name="connsiteY3" fmla="*/ 3546692 h 6196218"/>
              <a:gd name="connsiteX4" fmla="*/ 3498182 w 5317863"/>
              <a:gd name="connsiteY4" fmla="*/ 0 h 6196218"/>
              <a:gd name="connsiteX5" fmla="*/ 5317061 w 5317863"/>
              <a:gd name="connsiteY5" fmla="*/ 1852875 h 6196218"/>
              <a:gd name="connsiteX0" fmla="*/ 5317863 w 5317863"/>
              <a:gd name="connsiteY0" fmla="*/ 5248042 h 6195451"/>
              <a:gd name="connsiteX1" fmla="*/ 4384124 w 5317863"/>
              <a:gd name="connsiteY1" fmla="*/ 6195451 h 6195451"/>
              <a:gd name="connsiteX2" fmla="*/ 2621356 w 5317863"/>
              <a:gd name="connsiteY2" fmla="*/ 6193817 h 6195451"/>
              <a:gd name="connsiteX3" fmla="*/ 0 w 5317863"/>
              <a:gd name="connsiteY3" fmla="*/ 3546692 h 6195451"/>
              <a:gd name="connsiteX4" fmla="*/ 3498182 w 5317863"/>
              <a:gd name="connsiteY4" fmla="*/ 0 h 6195451"/>
              <a:gd name="connsiteX5" fmla="*/ 5317061 w 5317863"/>
              <a:gd name="connsiteY5" fmla="*/ 1852875 h 619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7863" h="6195451">
                <a:moveTo>
                  <a:pt x="5317863" y="5248042"/>
                </a:moveTo>
                <a:cubicBezTo>
                  <a:pt x="5312678" y="5254451"/>
                  <a:pt x="4696958" y="5878847"/>
                  <a:pt x="4384124" y="6195451"/>
                </a:cubicBezTo>
                <a:lnTo>
                  <a:pt x="2621356" y="6193817"/>
                </a:lnTo>
                <a:lnTo>
                  <a:pt x="0" y="3546692"/>
                </a:lnTo>
                <a:lnTo>
                  <a:pt x="3498182" y="0"/>
                </a:lnTo>
                <a:lnTo>
                  <a:pt x="5317061" y="1852875"/>
                </a:lnTo>
              </a:path>
            </a:pathLst>
          </a:cu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Нажмите на иконку чтобы добавить картинку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56650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5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одержание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Текст 2">
            <a:extLst>
              <a:ext uri="{FF2B5EF4-FFF2-40B4-BE49-F238E27FC236}">
                <a16:creationId xmlns:a16="http://schemas.microsoft.com/office/drawing/2014/main" xmlns="" id="{8919912F-D001-4E3A-8836-450EFCF87A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08331" y="2149728"/>
            <a:ext cx="3427200" cy="378303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5" name="Текст 3">
            <a:extLst>
              <a:ext uri="{FF2B5EF4-FFF2-40B4-BE49-F238E27FC236}">
                <a16:creationId xmlns:a16="http://schemas.microsoft.com/office/drawing/2014/main" xmlns="" id="{D9D1919E-A205-442A-B063-F3BDD20533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08330" y="2507808"/>
            <a:ext cx="3427200" cy="5991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6" name="Текст 4">
            <a:extLst>
              <a:ext uri="{FF2B5EF4-FFF2-40B4-BE49-F238E27FC236}">
                <a16:creationId xmlns:a16="http://schemas.microsoft.com/office/drawing/2014/main" xmlns="" id="{7547389F-6542-4AE3-81C4-ED53148288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48937" y="2151618"/>
            <a:ext cx="3427200" cy="378303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7" name="Текст 5">
            <a:extLst>
              <a:ext uri="{FF2B5EF4-FFF2-40B4-BE49-F238E27FC236}">
                <a16:creationId xmlns:a16="http://schemas.microsoft.com/office/drawing/2014/main" xmlns="" id="{7FECDD1D-CB53-4F5F-817A-4AE9089204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48938" y="2508840"/>
            <a:ext cx="3427200" cy="5991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8" name="Текст 6">
            <a:extLst>
              <a:ext uri="{FF2B5EF4-FFF2-40B4-BE49-F238E27FC236}">
                <a16:creationId xmlns:a16="http://schemas.microsoft.com/office/drawing/2014/main" xmlns="" id="{36E4F843-A2F9-4261-8263-BF74F43C1F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08330" y="3644659"/>
            <a:ext cx="3427200" cy="378303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9" name="Текст 7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07537" y="4001151"/>
            <a:ext cx="3427200" cy="5991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0" name="Текст 8">
            <a:extLst>
              <a:ext uri="{FF2B5EF4-FFF2-40B4-BE49-F238E27FC236}">
                <a16:creationId xmlns:a16="http://schemas.microsoft.com/office/drawing/2014/main" xmlns="" id="{6C2DF023-0CD6-4C49-A293-6DA6063286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49143" y="3644847"/>
            <a:ext cx="3427200" cy="378303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1" name="Текст 9">
            <a:extLst>
              <a:ext uri="{FF2B5EF4-FFF2-40B4-BE49-F238E27FC236}">
                <a16:creationId xmlns:a16="http://schemas.microsoft.com/office/drawing/2014/main" xmlns="" id="{18A36F67-0517-43E5-B88A-5469A92F00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49317" y="4001752"/>
            <a:ext cx="3427200" cy="5991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2" name="Текст 10">
            <a:extLst>
              <a:ext uri="{FF2B5EF4-FFF2-40B4-BE49-F238E27FC236}">
                <a16:creationId xmlns:a16="http://schemas.microsoft.com/office/drawing/2014/main" xmlns="" id="{6316FDF2-2D33-4159-9AE2-28142F5103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08330" y="5125695"/>
            <a:ext cx="3427200" cy="378303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3" name="Текст 11">
            <a:extLst>
              <a:ext uri="{FF2B5EF4-FFF2-40B4-BE49-F238E27FC236}">
                <a16:creationId xmlns:a16="http://schemas.microsoft.com/office/drawing/2014/main" xmlns="" id="{09921226-3C6B-428A-A828-3BD0050BAD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09536" y="5481394"/>
            <a:ext cx="3427200" cy="5991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4" name="Текст 12">
            <a:extLst>
              <a:ext uri="{FF2B5EF4-FFF2-40B4-BE49-F238E27FC236}">
                <a16:creationId xmlns:a16="http://schemas.microsoft.com/office/drawing/2014/main" xmlns="" id="{A5DEF65C-2428-46E4-A7D1-289A5484E8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50140" y="5128869"/>
            <a:ext cx="3427200" cy="378000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5" name="Текст 13">
            <a:extLst>
              <a:ext uri="{FF2B5EF4-FFF2-40B4-BE49-F238E27FC236}">
                <a16:creationId xmlns:a16="http://schemas.microsoft.com/office/drawing/2014/main" xmlns="" id="{B03A2082-22A8-4104-8B39-A81345FC5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49936" y="5486949"/>
            <a:ext cx="3427200" cy="59917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6" name="Текст 14">
            <a:extLst>
              <a:ext uri="{FF2B5EF4-FFF2-40B4-BE49-F238E27FC236}">
                <a16:creationId xmlns:a16="http://schemas.microsoft.com/office/drawing/2014/main" xmlns="" id="{E6DE3696-7749-414D-9691-5884A4B319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35157" y="2170880"/>
            <a:ext cx="490020" cy="309600"/>
          </a:xfrm>
        </p:spPr>
        <p:txBody>
          <a:bodyPr>
            <a:noAutofit/>
          </a:bodyPr>
          <a:lstStyle>
            <a:lvl1pPr>
              <a:defRPr sz="2100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47" name="Текст 15">
            <a:extLst>
              <a:ext uri="{FF2B5EF4-FFF2-40B4-BE49-F238E27FC236}">
                <a16:creationId xmlns:a16="http://schemas.microsoft.com/office/drawing/2014/main" xmlns="" id="{2325EA76-854B-43B7-B341-DF9C1448E2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35367" y="3660905"/>
            <a:ext cx="489600" cy="309600"/>
          </a:xfrm>
        </p:spPr>
        <p:txBody>
          <a:bodyPr>
            <a:noAutofit/>
          </a:bodyPr>
          <a:lstStyle>
            <a:lvl1pPr>
              <a:defRPr sz="2100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48" name="Текст 16">
            <a:extLst>
              <a:ext uri="{FF2B5EF4-FFF2-40B4-BE49-F238E27FC236}">
                <a16:creationId xmlns:a16="http://schemas.microsoft.com/office/drawing/2014/main" xmlns="" id="{6807A3A3-C614-4D88-A925-2C7AA70B10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42087" y="5118870"/>
            <a:ext cx="489600" cy="309600"/>
          </a:xfrm>
        </p:spPr>
        <p:txBody>
          <a:bodyPr>
            <a:noAutofit/>
          </a:bodyPr>
          <a:lstStyle>
            <a:lvl1pPr>
              <a:defRPr sz="2100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49" name="Текст 17">
            <a:extLst>
              <a:ext uri="{FF2B5EF4-FFF2-40B4-BE49-F238E27FC236}">
                <a16:creationId xmlns:a16="http://schemas.microsoft.com/office/drawing/2014/main" xmlns="" id="{D4F65B42-EE9C-4F63-A473-214AF96166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80829" y="2170879"/>
            <a:ext cx="489600" cy="309600"/>
          </a:xfrm>
        </p:spPr>
        <p:txBody>
          <a:bodyPr>
            <a:noAutofit/>
          </a:bodyPr>
          <a:lstStyle>
            <a:lvl1pPr>
              <a:defRPr sz="2100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50" name="Текст 18">
            <a:extLst>
              <a:ext uri="{FF2B5EF4-FFF2-40B4-BE49-F238E27FC236}">
                <a16:creationId xmlns:a16="http://schemas.microsoft.com/office/drawing/2014/main" xmlns="" id="{2014B5F3-CC6C-4C79-BA87-F63D29500F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80829" y="3644875"/>
            <a:ext cx="489600" cy="309600"/>
          </a:xfrm>
        </p:spPr>
        <p:txBody>
          <a:bodyPr>
            <a:noAutofit/>
          </a:bodyPr>
          <a:lstStyle>
            <a:lvl1pPr>
              <a:defRPr sz="2100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51" name="Текст 19">
            <a:extLst>
              <a:ext uri="{FF2B5EF4-FFF2-40B4-BE49-F238E27FC236}">
                <a16:creationId xmlns:a16="http://schemas.microsoft.com/office/drawing/2014/main" xmlns="" id="{ADF6BAFD-CFD8-4BB7-ABFF-3152546A90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80829" y="5118869"/>
            <a:ext cx="489600" cy="309600"/>
          </a:xfrm>
        </p:spPr>
        <p:txBody>
          <a:bodyPr>
            <a:noAutofit/>
          </a:bodyPr>
          <a:lstStyle>
            <a:lvl1pPr>
              <a:defRPr sz="2100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52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82336"/>
            <a:ext cx="9722373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2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08476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36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Цел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389" y="1020691"/>
            <a:ext cx="9723600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0" name="Текст 1">
            <a:extLst>
              <a:ext uri="{FF2B5EF4-FFF2-40B4-BE49-F238E27FC236}">
                <a16:creationId xmlns:a16="http://schemas.microsoft.com/office/drawing/2014/main" xmlns="" id="{D9D1919E-A205-442A-B063-F3BDD20533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63039" y="2518912"/>
            <a:ext cx="3880800" cy="586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xmlns="" id="{7FECDD1D-CB53-4F5F-817A-4AE9089204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8775" y="2518912"/>
            <a:ext cx="3879643" cy="586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63039" y="3765549"/>
            <a:ext cx="3880800" cy="586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3" name="Текст 4">
            <a:extLst>
              <a:ext uri="{FF2B5EF4-FFF2-40B4-BE49-F238E27FC236}">
                <a16:creationId xmlns:a16="http://schemas.microsoft.com/office/drawing/2014/main" xmlns="" id="{18A36F67-0517-43E5-B88A-5469A92F00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188" y="3765549"/>
            <a:ext cx="3880800" cy="586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5" name="Текст 5">
            <a:extLst>
              <a:ext uri="{FF2B5EF4-FFF2-40B4-BE49-F238E27FC236}">
                <a16:creationId xmlns:a16="http://schemas.microsoft.com/office/drawing/2014/main" xmlns="" id="{09921226-3C6B-428A-A828-3BD0050BAD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463039" y="5012187"/>
            <a:ext cx="3880800" cy="586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xmlns="" id="{B03A2082-22A8-4104-8B39-A81345FC5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07482" y="5012187"/>
            <a:ext cx="3880800" cy="586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3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2623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51">
          <p15:clr>
            <a:srgbClr val="FBAE40"/>
          </p15:clr>
        </p15:guide>
        <p15:guide id="2" orient="horz" pos="315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 компании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391" y="2486225"/>
            <a:ext cx="433281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5" name="Текст 1">
            <a:extLst>
              <a:ext uri="{FF2B5EF4-FFF2-40B4-BE49-F238E27FC236}">
                <a16:creationId xmlns:a16="http://schemas.microsoft.com/office/drawing/2014/main" xmlns="" id="{09921226-3C6B-428A-A828-3BD0050BAD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38476" y="2460963"/>
            <a:ext cx="2232332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xmlns="" id="{BEFD18E0-1186-48C4-B7A6-F4BDE23C22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38476" y="3828406"/>
            <a:ext cx="2232332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xmlns="" id="{9F6B6DF4-8F47-4E34-8A31-02536951F76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1175" y="2464710"/>
            <a:ext cx="2221200" cy="300093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xmlns="" id="{605150D7-94AF-41C5-A3E7-7E61823FE5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8476" y="2143791"/>
            <a:ext cx="2232332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6">
            <a:extLst>
              <a:ext uri="{FF2B5EF4-FFF2-40B4-BE49-F238E27FC236}">
                <a16:creationId xmlns:a16="http://schemas.microsoft.com/office/drawing/2014/main" xmlns="" id="{35AEA394-9688-4508-9B71-D7FEAEA840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61175" y="2143791"/>
            <a:ext cx="2221200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xmlns="" id="{35BACFCB-AC8D-446C-8C9E-ED6CE258308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61174" y="3510348"/>
            <a:ext cx="2221201" cy="29970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32" name="Текст 8">
            <a:extLst>
              <a:ext uri="{FF2B5EF4-FFF2-40B4-BE49-F238E27FC236}">
                <a16:creationId xmlns:a16="http://schemas.microsoft.com/office/drawing/2014/main" xmlns="" id="{F82FAA2C-7733-4F9B-896B-1F1CD90A5F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61174" y="5190485"/>
            <a:ext cx="2221200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3" name="Текст 9">
            <a:extLst>
              <a:ext uri="{FF2B5EF4-FFF2-40B4-BE49-F238E27FC236}">
                <a16:creationId xmlns:a16="http://schemas.microsoft.com/office/drawing/2014/main" xmlns="" id="{A6F3B2FD-3F43-47FD-BD77-9F9EEE18CF9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61173" y="4876905"/>
            <a:ext cx="2221201" cy="29522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34" name="Текст 10">
            <a:extLst>
              <a:ext uri="{FF2B5EF4-FFF2-40B4-BE49-F238E27FC236}">
                <a16:creationId xmlns:a16="http://schemas.microsoft.com/office/drawing/2014/main" xmlns="" id="{2DCB1BBF-B0EE-4A72-BFD6-70D4ADB36A4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61174" y="3827178"/>
            <a:ext cx="2221201" cy="300932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3" name="Текст 11">
            <a:extLst>
              <a:ext uri="{FF2B5EF4-FFF2-40B4-BE49-F238E27FC236}">
                <a16:creationId xmlns:a16="http://schemas.microsoft.com/office/drawing/2014/main" xmlns="" id="{7F014141-ADD7-4D8C-AF9A-91422A4285F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8476" y="5190485"/>
            <a:ext cx="2232332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5" name="Текст 12">
            <a:extLst>
              <a:ext uri="{FF2B5EF4-FFF2-40B4-BE49-F238E27FC236}">
                <a16:creationId xmlns:a16="http://schemas.microsoft.com/office/drawing/2014/main" xmlns="" id="{0B03CAF2-9D54-414D-A24E-809AD7D896C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38476" y="4872427"/>
            <a:ext cx="2232332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9" name="Текст 13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3392" y="3510348"/>
            <a:ext cx="4332815" cy="2616132"/>
          </a:xfrm>
        </p:spPr>
        <p:txBody>
          <a:bodyPr>
            <a:noAutofit/>
          </a:bodyPr>
          <a:lstStyle>
            <a:lvl1pPr>
              <a:lnSpc>
                <a:spcPts val="2000"/>
              </a:lnSpc>
              <a:defRPr sz="1400" baseline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0" name="Текст 14">
            <a:extLst>
              <a:ext uri="{FF2B5EF4-FFF2-40B4-BE49-F238E27FC236}">
                <a16:creationId xmlns:a16="http://schemas.microsoft.com/office/drawing/2014/main" xmlns="" id="{605150D7-94AF-41C5-A3E7-7E61823FE58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38476" y="3504984"/>
            <a:ext cx="2232332" cy="299704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1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75091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 компании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Текст 1">
            <a:extLst>
              <a:ext uri="{FF2B5EF4-FFF2-40B4-BE49-F238E27FC236}">
                <a16:creationId xmlns:a16="http://schemas.microsoft.com/office/drawing/2014/main" xmlns="" id="{A6F3B2FD-3F43-47FD-BD77-9F9EEE18CF9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09588" y="5539812"/>
            <a:ext cx="2221201" cy="295226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xmlns="" id="{35BACFCB-AC8D-446C-8C9E-ED6CE258308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313383" y="3654472"/>
            <a:ext cx="1446292" cy="318058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2DCB1BBF-B0EE-4A72-BFD6-70D4ADB36A4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13383" y="3972530"/>
            <a:ext cx="1446292" cy="299704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4">
            <a:extLst>
              <a:ext uri="{FF2B5EF4-FFF2-40B4-BE49-F238E27FC236}">
                <a16:creationId xmlns:a16="http://schemas.microsoft.com/office/drawing/2014/main" xmlns="" id="{BEFD18E0-1186-48C4-B7A6-F4BDE23C22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96207" y="3972530"/>
            <a:ext cx="1447200" cy="299704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6" name="Текст 5">
            <a:extLst>
              <a:ext uri="{FF2B5EF4-FFF2-40B4-BE49-F238E27FC236}">
                <a16:creationId xmlns:a16="http://schemas.microsoft.com/office/drawing/2014/main" xmlns="" id="{A6888654-D4AB-4CFA-BD58-709A90437B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96207" y="3654472"/>
            <a:ext cx="1447200" cy="299704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3" name="Текст 6">
            <a:extLst>
              <a:ext uri="{FF2B5EF4-FFF2-40B4-BE49-F238E27FC236}">
                <a16:creationId xmlns:a16="http://schemas.microsoft.com/office/drawing/2014/main" xmlns="" id="{09921226-3C6B-428A-A828-3BD0050BAD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539" y="2018866"/>
            <a:ext cx="2232332" cy="299704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xmlns="" id="{605150D7-94AF-41C5-A3E7-7E61823FE58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10539" y="1701694"/>
            <a:ext cx="2232332" cy="299704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3900" b="1" spc="140" baseline="0">
                <a:solidFill>
                  <a:srgbClr val="71B6B9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391" y="2486225"/>
            <a:ext cx="3708610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1" name="Текст 8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390" y="3510348"/>
            <a:ext cx="3702661" cy="2716716"/>
          </a:xfrm>
        </p:spPr>
        <p:txBody>
          <a:bodyPr>
            <a:noAutofit/>
          </a:bodyPr>
          <a:lstStyle>
            <a:lvl1pPr>
              <a:lnSpc>
                <a:spcPts val="20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5" name="Текст 10">
            <a:extLst>
              <a:ext uri="{FF2B5EF4-FFF2-40B4-BE49-F238E27FC236}">
                <a16:creationId xmlns:a16="http://schemas.microsoft.com/office/drawing/2014/main" xmlns="" id="{09921226-3C6B-428A-A828-3BD0050BAD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09588" y="5851899"/>
            <a:ext cx="2221201" cy="299704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1400" baseline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9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19821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История компании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42" name="Картинка 1">
            <a:extLst>
              <a:ext uri="{FF2B5EF4-FFF2-40B4-BE49-F238E27FC236}">
                <a16:creationId xmlns:a16="http://schemas.microsoft.com/office/drawing/2014/main" xmlns="" id="{AE0D8DEF-C269-43E5-BE8A-146630058471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5277802" y="1798124"/>
            <a:ext cx="3852000" cy="38520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7" name="Текст 2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60797" y="4581425"/>
            <a:ext cx="2628211" cy="125808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20" name="Текст 3">
            <a:extLst>
              <a:ext uri="{FF2B5EF4-FFF2-40B4-BE49-F238E27FC236}">
                <a16:creationId xmlns:a16="http://schemas.microsoft.com/office/drawing/2014/main" xmlns="" id="{7F8FBA6A-C9F7-44BD-A5AF-3A132BA6304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60797" y="3993071"/>
            <a:ext cx="2628211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xmlns="" id="{AF641F69-09FE-41FB-BE59-E426C95A275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60798" y="2409600"/>
            <a:ext cx="977430" cy="43656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9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51910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История компании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xmlns="" id="{AF641F69-09FE-41FB-BE59-E426C95A275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60798" y="2409600"/>
            <a:ext cx="977430" cy="43656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22" name="Текст 3">
            <a:extLst>
              <a:ext uri="{FF2B5EF4-FFF2-40B4-BE49-F238E27FC236}">
                <a16:creationId xmlns:a16="http://schemas.microsoft.com/office/drawing/2014/main" xmlns="" id="{AF641F69-09FE-41FB-BE59-E426C95A275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4746997" y="2409599"/>
            <a:ext cx="977430" cy="43656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3" name="Текст 4">
            <a:extLst>
              <a:ext uri="{FF2B5EF4-FFF2-40B4-BE49-F238E27FC236}">
                <a16:creationId xmlns:a16="http://schemas.microsoft.com/office/drawing/2014/main" xmlns="" id="{AF641F69-09FE-41FB-BE59-E426C95A275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734797" y="2409599"/>
            <a:ext cx="977430" cy="43656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34" name="Текст 5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60797" y="4581425"/>
            <a:ext cx="2628211" cy="125808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5" name="Текст 6">
            <a:extLst>
              <a:ext uri="{FF2B5EF4-FFF2-40B4-BE49-F238E27FC236}">
                <a16:creationId xmlns:a16="http://schemas.microsoft.com/office/drawing/2014/main" xmlns="" id="{7F8FBA6A-C9F7-44BD-A5AF-3A132BA6304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60797" y="3993071"/>
            <a:ext cx="2628211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746997" y="4581422"/>
            <a:ext cx="2628211" cy="125808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7" name="Текст 8">
            <a:extLst>
              <a:ext uri="{FF2B5EF4-FFF2-40B4-BE49-F238E27FC236}">
                <a16:creationId xmlns:a16="http://schemas.microsoft.com/office/drawing/2014/main" xmlns="" id="{7F8FBA6A-C9F7-44BD-A5AF-3A132BA6304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746997" y="3993068"/>
            <a:ext cx="2628211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8" name="Текст 9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734797" y="4581422"/>
            <a:ext cx="2628211" cy="125808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9" name="Текст 10">
            <a:extLst>
              <a:ext uri="{FF2B5EF4-FFF2-40B4-BE49-F238E27FC236}">
                <a16:creationId xmlns:a16="http://schemas.microsoft.com/office/drawing/2014/main" xmlns="" id="{7F8FBA6A-C9F7-44BD-A5AF-3A132BA6304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8734797" y="3993068"/>
            <a:ext cx="2628211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3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84016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297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34927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История компании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xmlns="" id="{AF641F69-09FE-41FB-BE59-E426C95A275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60798" y="2409600"/>
            <a:ext cx="977430" cy="436563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0" name="Картинка 1">
            <a:extLst>
              <a:ext uri="{FF2B5EF4-FFF2-40B4-BE49-F238E27FC236}">
                <a16:creationId xmlns:a16="http://schemas.microsoft.com/office/drawing/2014/main" xmlns="" id="{AE0D8DEF-C269-43E5-BE8A-146630058471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5277802" y="1798124"/>
            <a:ext cx="3852000" cy="38520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60797" y="4581425"/>
            <a:ext cx="2628211" cy="125808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4" name="Текст 4">
            <a:extLst>
              <a:ext uri="{FF2B5EF4-FFF2-40B4-BE49-F238E27FC236}">
                <a16:creationId xmlns:a16="http://schemas.microsoft.com/office/drawing/2014/main" xmlns="" id="{7F8FBA6A-C9F7-44BD-A5AF-3A132BA6304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60797" y="3993071"/>
            <a:ext cx="2628211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8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14590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История компании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47" name="Текст 2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95040" y="2774590"/>
            <a:ext cx="2060884" cy="85364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xmlns="" id="{921D8B72-B81A-4F15-839E-8C63906C9CE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95040" y="2399852"/>
            <a:ext cx="730560" cy="3209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6" name="Текст 4">
            <a:extLst>
              <a:ext uri="{FF2B5EF4-FFF2-40B4-BE49-F238E27FC236}">
                <a16:creationId xmlns:a16="http://schemas.microsoft.com/office/drawing/2014/main" xmlns="" id="{0E47FB65-0C03-4890-B308-1B91B91C015F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4271652" y="2399852"/>
            <a:ext cx="730560" cy="3209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xmlns="" id="{E195D480-528E-4D64-B82C-64B80797319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7648265" y="2403251"/>
            <a:ext cx="730560" cy="3209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xmlns="" id="{A58B83CF-10FC-475F-8F23-C140E312A695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286564" y="4399651"/>
            <a:ext cx="730560" cy="3204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xmlns="" id="{20A6E3DE-D6A5-4458-812E-1EBCBEE7815B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948052" y="4399651"/>
            <a:ext cx="730560" cy="3204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30" name="Текст 8">
            <a:extLst>
              <a:ext uri="{FF2B5EF4-FFF2-40B4-BE49-F238E27FC236}">
                <a16:creationId xmlns:a16="http://schemas.microsoft.com/office/drawing/2014/main" xmlns="" id="{B8C77394-BB6C-4C22-948A-C5411C94DD6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609540" y="4399651"/>
            <a:ext cx="730560" cy="3204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5" name="Текст 9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271652" y="2774590"/>
            <a:ext cx="2060884" cy="85364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1" name="Текст 10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7648264" y="2774590"/>
            <a:ext cx="2060884" cy="85364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2" name="Текст 11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2609540" y="4783816"/>
            <a:ext cx="2113780" cy="85364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5" name="Текст 12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948052" y="4774389"/>
            <a:ext cx="2113780" cy="85364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6" name="Текст 13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9286564" y="4774389"/>
            <a:ext cx="2113780" cy="85364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82901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47" name="Текст 2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85296" y="1618593"/>
            <a:ext cx="2047090" cy="2364828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7" name="Текст 3"/>
          <p:cNvSpPr>
            <a:spLocks noGrp="1"/>
          </p:cNvSpPr>
          <p:nvPr>
            <p:ph type="body" sz="quarter" idx="81" hasCustomPrompt="1"/>
          </p:nvPr>
        </p:nvSpPr>
        <p:spPr>
          <a:xfrm>
            <a:off x="1380573" y="4550217"/>
            <a:ext cx="1359243" cy="207145"/>
          </a:xfrm>
        </p:spPr>
        <p:txBody>
          <a:bodyPr>
            <a:noAutofit/>
          </a:bodyPr>
          <a:lstStyle>
            <a:lvl1pPr algn="l">
              <a:defRPr sz="13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82" hasCustomPrompt="1"/>
          </p:nvPr>
        </p:nvSpPr>
        <p:spPr>
          <a:xfrm>
            <a:off x="1380572" y="5189427"/>
            <a:ext cx="1359243" cy="20714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83" hasCustomPrompt="1"/>
          </p:nvPr>
        </p:nvSpPr>
        <p:spPr>
          <a:xfrm>
            <a:off x="1380572" y="5828637"/>
            <a:ext cx="1359243" cy="20714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20" name="Текст 6">
            <a:extLst>
              <a:ext uri="{FF2B5EF4-FFF2-40B4-BE49-F238E27FC236}">
                <a16:creationId xmlns:a16="http://schemas.microsoft.com/office/drawing/2014/main" xmlns="" id="{9CB997D8-C87E-4D0F-8D6D-E042C866531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14395" y="2950314"/>
            <a:ext cx="751807" cy="294290"/>
          </a:xfrm>
        </p:spPr>
        <p:txBody>
          <a:bodyPr>
            <a:noAutofit/>
          </a:bodyPr>
          <a:lstStyle>
            <a:lvl1pPr>
              <a:defRPr sz="19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xmlns="" id="{0AD2EACE-F1A3-4E14-AF94-DA38C291C23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634574" y="2399835"/>
            <a:ext cx="1098006" cy="4191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23" name="Текст 8">
            <a:extLst>
              <a:ext uri="{FF2B5EF4-FFF2-40B4-BE49-F238E27FC236}">
                <a16:creationId xmlns:a16="http://schemas.microsoft.com/office/drawing/2014/main" xmlns="" id="{0AD2EACE-F1A3-4E14-AF94-DA38C291C232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462994" y="2884145"/>
            <a:ext cx="913751" cy="419100"/>
          </a:xfrm>
        </p:spPr>
        <p:txBody>
          <a:bodyPr>
            <a:noAutofit/>
          </a:bodyPr>
          <a:lstStyle>
            <a:lvl1pPr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11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68363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роцесс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82336"/>
            <a:ext cx="9797143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0" name="Текст 1">
            <a:extLst>
              <a:ext uri="{FF2B5EF4-FFF2-40B4-BE49-F238E27FC236}">
                <a16:creationId xmlns:a16="http://schemas.microsoft.com/office/drawing/2014/main" xmlns="" id="{D9D1919E-A205-442A-B063-F3BDD20533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2045" y="4627590"/>
            <a:ext cx="2017622" cy="132840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D40C1C5C-A653-430C-B076-B2B63AD7B7F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2046" y="4273793"/>
            <a:ext cx="2017621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6" name="Текст 4">
            <a:extLst>
              <a:ext uri="{FF2B5EF4-FFF2-40B4-BE49-F238E27FC236}">
                <a16:creationId xmlns:a16="http://schemas.microsoft.com/office/drawing/2014/main" xmlns="" id="{A5726FC0-7B83-4951-ACCC-1A708228F6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520802" y="4627590"/>
            <a:ext cx="2017622" cy="13347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xmlns="" id="{5DF12280-BAFC-4AC2-B4AB-69082ABE5C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59559" y="4627589"/>
            <a:ext cx="1998521" cy="13347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0" name="Текст 6">
            <a:extLst>
              <a:ext uri="{FF2B5EF4-FFF2-40B4-BE49-F238E27FC236}">
                <a16:creationId xmlns:a16="http://schemas.microsoft.com/office/drawing/2014/main" xmlns="" id="{7DE4D51D-7BD3-40A2-8E2B-65647D32F8D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83976" y="4627589"/>
            <a:ext cx="2017622" cy="13347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1" name="Текст 7">
            <a:extLst>
              <a:ext uri="{FF2B5EF4-FFF2-40B4-BE49-F238E27FC236}">
                <a16:creationId xmlns:a16="http://schemas.microsoft.com/office/drawing/2014/main" xmlns="" id="{61217FF1-85DA-429C-B06D-2C568E8CA2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16023" y="4271730"/>
            <a:ext cx="2017621" cy="28928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8">
            <a:extLst>
              <a:ext uri="{FF2B5EF4-FFF2-40B4-BE49-F238E27FC236}">
                <a16:creationId xmlns:a16="http://schemas.microsoft.com/office/drawing/2014/main" xmlns="" id="{15877149-D549-4EC1-AAAB-B2A23A4297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587526" y="2707157"/>
            <a:ext cx="888680" cy="26973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Введите текст</a:t>
            </a:r>
          </a:p>
        </p:txBody>
      </p:sp>
      <p:sp>
        <p:nvSpPr>
          <p:cNvPr id="34" name="Текст 9">
            <a:extLst>
              <a:ext uri="{FF2B5EF4-FFF2-40B4-BE49-F238E27FC236}">
                <a16:creationId xmlns:a16="http://schemas.microsoft.com/office/drawing/2014/main" xmlns="" id="{E5B5061D-6FAB-4111-92BD-C9F126578D5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83977" y="4269665"/>
            <a:ext cx="2017621" cy="28928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2" name="Текст 10">
            <a:extLst>
              <a:ext uri="{FF2B5EF4-FFF2-40B4-BE49-F238E27FC236}">
                <a16:creationId xmlns:a16="http://schemas.microsoft.com/office/drawing/2014/main" xmlns="" id="{10235713-1E2B-43A4-A80D-3539ACD3D9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216426" y="2707157"/>
            <a:ext cx="888680" cy="26973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Введите текст</a:t>
            </a:r>
          </a:p>
        </p:txBody>
      </p:sp>
      <p:sp>
        <p:nvSpPr>
          <p:cNvPr id="23" name="Текст 11">
            <a:extLst>
              <a:ext uri="{FF2B5EF4-FFF2-40B4-BE49-F238E27FC236}">
                <a16:creationId xmlns:a16="http://schemas.microsoft.com/office/drawing/2014/main" xmlns="" id="{556C8B0A-B212-4410-8B67-17C57269DA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45326" y="2707157"/>
            <a:ext cx="888680" cy="26973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Введите текст</a:t>
            </a:r>
          </a:p>
        </p:txBody>
      </p:sp>
      <p:sp>
        <p:nvSpPr>
          <p:cNvPr id="24" name="Текст 12">
            <a:extLst>
              <a:ext uri="{FF2B5EF4-FFF2-40B4-BE49-F238E27FC236}">
                <a16:creationId xmlns:a16="http://schemas.microsoft.com/office/drawing/2014/main" xmlns="" id="{42D239F3-88AE-44C8-87BD-80AE8389951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74226" y="2707156"/>
            <a:ext cx="888680" cy="26973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Введите текст</a:t>
            </a:r>
          </a:p>
        </p:txBody>
      </p:sp>
      <p:sp>
        <p:nvSpPr>
          <p:cNvPr id="25" name="Текст 13">
            <a:extLst>
              <a:ext uri="{FF2B5EF4-FFF2-40B4-BE49-F238E27FC236}">
                <a16:creationId xmlns:a16="http://schemas.microsoft.com/office/drawing/2014/main" xmlns="" id="{4DB1F3E8-58A5-49BA-B595-F5DBCD7BE4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59" y="4264018"/>
            <a:ext cx="2017621" cy="28928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72162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роцесс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82336"/>
            <a:ext cx="9797143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0" name="Текст 1">
            <a:extLst>
              <a:ext uri="{FF2B5EF4-FFF2-40B4-BE49-F238E27FC236}">
                <a16:creationId xmlns:a16="http://schemas.microsoft.com/office/drawing/2014/main" xmlns="" id="{D9D1919E-A205-442A-B063-F3BDD20533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6710" y="2224363"/>
            <a:ext cx="2027246" cy="8605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D40C1C5C-A653-430C-B076-B2B63AD7B7F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1945" y="1912654"/>
            <a:ext cx="2027247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25F8941A-76BD-45B4-A6F7-08C84F54E9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24280" y="1903129"/>
            <a:ext cx="2027247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2" name="Текст 5">
            <a:extLst>
              <a:ext uri="{FF2B5EF4-FFF2-40B4-BE49-F238E27FC236}">
                <a16:creationId xmlns:a16="http://schemas.microsoft.com/office/drawing/2014/main" xmlns="" id="{41F75496-7555-4745-9DB1-84BB4744FC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24281" y="2229126"/>
            <a:ext cx="2027246" cy="860583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xmlns="" id="{3C8F065B-5308-44A0-9F17-EF8C24F89C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6324" y="5076600"/>
            <a:ext cx="2027246" cy="8605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xmlns="" id="{05E8F869-AB82-442D-BDB8-3DFC4FF8A5D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0113" y="5076599"/>
            <a:ext cx="2027246" cy="860583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5" name="Текст 8">
            <a:extLst>
              <a:ext uri="{FF2B5EF4-FFF2-40B4-BE49-F238E27FC236}">
                <a16:creationId xmlns:a16="http://schemas.microsoft.com/office/drawing/2014/main" xmlns="" id="{2F12EDE4-F139-44F6-BE77-EA1FD6E9FF5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76323" y="4759518"/>
            <a:ext cx="2027247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8" name="Текст 9">
            <a:extLst>
              <a:ext uri="{FF2B5EF4-FFF2-40B4-BE49-F238E27FC236}">
                <a16:creationId xmlns:a16="http://schemas.microsoft.com/office/drawing/2014/main" xmlns="" id="{97BDE10F-9347-446F-B37F-273D8E8859F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30112" y="4769043"/>
            <a:ext cx="2027247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3" name="Текст 10">
            <a:extLst>
              <a:ext uri="{FF2B5EF4-FFF2-40B4-BE49-F238E27FC236}">
                <a16:creationId xmlns:a16="http://schemas.microsoft.com/office/drawing/2014/main" xmlns="" id="{D237C79D-67AC-460B-B6B6-B448FC7CB5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23680" y="3817453"/>
            <a:ext cx="342900" cy="295275"/>
          </a:xfrm>
        </p:spPr>
        <p:txBody>
          <a:bodyPr>
            <a:noAutofit/>
          </a:bodyPr>
          <a:lstStyle>
            <a:lvl1pPr>
              <a:defRPr sz="2100" b="1">
                <a:solidFill>
                  <a:srgbClr val="2C211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35" name="Текст 11">
            <a:extLst>
              <a:ext uri="{FF2B5EF4-FFF2-40B4-BE49-F238E27FC236}">
                <a16:creationId xmlns:a16="http://schemas.microsoft.com/office/drawing/2014/main" xmlns="" id="{37EF3FF7-5177-4D55-8631-A1100687E97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43055" y="3750778"/>
            <a:ext cx="342900" cy="295275"/>
          </a:xfrm>
        </p:spPr>
        <p:txBody>
          <a:bodyPr>
            <a:noAutofit/>
          </a:bodyPr>
          <a:lstStyle>
            <a:lvl1pPr>
              <a:defRPr sz="2100" b="1">
                <a:solidFill>
                  <a:srgbClr val="2C211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36" name="Текст 12">
            <a:extLst>
              <a:ext uri="{FF2B5EF4-FFF2-40B4-BE49-F238E27FC236}">
                <a16:creationId xmlns:a16="http://schemas.microsoft.com/office/drawing/2014/main" xmlns="" id="{11571044-5553-4EBF-A316-D65CBED8129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62430" y="3824906"/>
            <a:ext cx="342900" cy="295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>
                <a:solidFill>
                  <a:srgbClr val="2C211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№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37" name="Текст 13">
            <a:extLst>
              <a:ext uri="{FF2B5EF4-FFF2-40B4-BE49-F238E27FC236}">
                <a16:creationId xmlns:a16="http://schemas.microsoft.com/office/drawing/2014/main" xmlns="" id="{FC93EE1E-1899-42F2-987B-92020C426A7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81805" y="3768246"/>
            <a:ext cx="342900" cy="2952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>
                <a:solidFill>
                  <a:srgbClr val="2C211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№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38755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роцессы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82336"/>
            <a:ext cx="9797143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0" name="Текст 1">
            <a:extLst>
              <a:ext uri="{FF2B5EF4-FFF2-40B4-BE49-F238E27FC236}">
                <a16:creationId xmlns:a16="http://schemas.microsoft.com/office/drawing/2014/main" xmlns="" id="{D9D1919E-A205-442A-B063-F3BDD20533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2045" y="4627590"/>
            <a:ext cx="2017622" cy="1335600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D40C1C5C-A653-430C-B076-B2B63AD7B7F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2046" y="4273793"/>
            <a:ext cx="2017621" cy="288000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26" name="Текст 4">
            <a:extLst>
              <a:ext uri="{FF2B5EF4-FFF2-40B4-BE49-F238E27FC236}">
                <a16:creationId xmlns:a16="http://schemas.microsoft.com/office/drawing/2014/main" xmlns="" id="{A5726FC0-7B83-4951-ACCC-1A708228F6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513181" y="4627590"/>
            <a:ext cx="2019600" cy="13347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xmlns="" id="{5DF12280-BAFC-4AC2-B4AB-69082ABE5C2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46859" y="4627589"/>
            <a:ext cx="2017621" cy="13347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0" name="Текст 6">
            <a:extLst>
              <a:ext uri="{FF2B5EF4-FFF2-40B4-BE49-F238E27FC236}">
                <a16:creationId xmlns:a16="http://schemas.microsoft.com/office/drawing/2014/main" xmlns="" id="{7DE4D51D-7BD3-40A2-8E2B-65647D32F8D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78739" y="4627589"/>
            <a:ext cx="2017622" cy="13347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1" name="Текст 7">
            <a:extLst>
              <a:ext uri="{FF2B5EF4-FFF2-40B4-BE49-F238E27FC236}">
                <a16:creationId xmlns:a16="http://schemas.microsoft.com/office/drawing/2014/main" xmlns="" id="{61217FF1-85DA-429C-B06D-2C568E8CA2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16023" y="4271730"/>
            <a:ext cx="2017621" cy="28928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4" name="Текст 8">
            <a:extLst>
              <a:ext uri="{FF2B5EF4-FFF2-40B4-BE49-F238E27FC236}">
                <a16:creationId xmlns:a16="http://schemas.microsoft.com/office/drawing/2014/main" xmlns="" id="{E5B5061D-6FAB-4111-92BD-C9F126578D5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78740" y="4269665"/>
            <a:ext cx="2017621" cy="28928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5" name="Текст 9">
            <a:extLst>
              <a:ext uri="{FF2B5EF4-FFF2-40B4-BE49-F238E27FC236}">
                <a16:creationId xmlns:a16="http://schemas.microsoft.com/office/drawing/2014/main" xmlns="" id="{4DB1F3E8-58A5-49BA-B595-F5DBCD7BE4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46859" y="4264018"/>
            <a:ext cx="2017621" cy="28928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1" name="Картинка 1">
            <a:extLst>
              <a:ext uri="{FF2B5EF4-FFF2-40B4-BE49-F238E27FC236}">
                <a16:creationId xmlns:a16="http://schemas.microsoft.com/office/drawing/2014/main" xmlns="" id="{A20E6EA3-62C0-47B3-8BAC-152CDA7442E8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985641" y="1859755"/>
            <a:ext cx="1992313" cy="1990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39" name="Картинка 2">
            <a:extLst>
              <a:ext uri="{FF2B5EF4-FFF2-40B4-BE49-F238E27FC236}">
                <a16:creationId xmlns:a16="http://schemas.microsoft.com/office/drawing/2014/main" xmlns="" id="{28298CEB-1DD1-4345-A312-FDFC6D5F15B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610039" y="1859755"/>
            <a:ext cx="1992313" cy="1990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0" name="Картинка 3">
            <a:extLst>
              <a:ext uri="{FF2B5EF4-FFF2-40B4-BE49-F238E27FC236}">
                <a16:creationId xmlns:a16="http://schemas.microsoft.com/office/drawing/2014/main" xmlns="" id="{64EDF391-7867-4F44-BAEB-730D950EAEB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34437" y="1859755"/>
            <a:ext cx="1992313" cy="1990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1" name="Картинка 4">
            <a:extLst>
              <a:ext uri="{FF2B5EF4-FFF2-40B4-BE49-F238E27FC236}">
                <a16:creationId xmlns:a16="http://schemas.microsoft.com/office/drawing/2014/main" xmlns="" id="{52ACE182-4F23-4553-B922-4490D295B4DD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858835" y="1859755"/>
            <a:ext cx="1992313" cy="1990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99905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родукты компании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82336"/>
            <a:ext cx="9797143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0" name="Текст 1">
            <a:extLst>
              <a:ext uri="{FF2B5EF4-FFF2-40B4-BE49-F238E27FC236}">
                <a16:creationId xmlns:a16="http://schemas.microsoft.com/office/drawing/2014/main" xmlns="" id="{D9D1919E-A205-442A-B063-F3BDD20533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62682" y="4486248"/>
            <a:ext cx="2128168" cy="132840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D40C1C5C-A653-430C-B076-B2B63AD7B7F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258" y="4137113"/>
            <a:ext cx="2127592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8" name="Текст 4">
            <a:extLst>
              <a:ext uri="{FF2B5EF4-FFF2-40B4-BE49-F238E27FC236}">
                <a16:creationId xmlns:a16="http://schemas.microsoft.com/office/drawing/2014/main" xmlns="" id="{66A06AD2-8F63-479B-94F4-D0CA50D4DA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28344" y="4486248"/>
            <a:ext cx="2127600" cy="132840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xmlns="" id="{5DCAEE12-C707-4C5B-96FD-685B57E739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28344" y="4137113"/>
            <a:ext cx="21276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0" name="Текст 6">
            <a:extLst>
              <a:ext uri="{FF2B5EF4-FFF2-40B4-BE49-F238E27FC236}">
                <a16:creationId xmlns:a16="http://schemas.microsoft.com/office/drawing/2014/main" xmlns="" id="{5268C469-45E8-4A10-B974-A9E5967DBB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02704" y="4486248"/>
            <a:ext cx="2127600" cy="132840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xmlns="" id="{898E851C-2177-4659-8EE0-654B0084FF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402704" y="4137113"/>
            <a:ext cx="21276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2" name="Текст 8">
            <a:extLst>
              <a:ext uri="{FF2B5EF4-FFF2-40B4-BE49-F238E27FC236}">
                <a16:creationId xmlns:a16="http://schemas.microsoft.com/office/drawing/2014/main" xmlns="" id="{5FD7DC22-B157-48FA-BA55-92BF0801B12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02705" y="2512096"/>
            <a:ext cx="2128168" cy="132840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3" name="Текст 9">
            <a:extLst>
              <a:ext uri="{FF2B5EF4-FFF2-40B4-BE49-F238E27FC236}">
                <a16:creationId xmlns:a16="http://schemas.microsoft.com/office/drawing/2014/main" xmlns="" id="{B1CA20EB-BEE1-42D9-874E-F54075443A3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03281" y="2162961"/>
            <a:ext cx="2127592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4" name="Текст 10">
            <a:extLst>
              <a:ext uri="{FF2B5EF4-FFF2-40B4-BE49-F238E27FC236}">
                <a16:creationId xmlns:a16="http://schemas.microsoft.com/office/drawing/2014/main" xmlns="" id="{000768FB-8177-43C5-ACAB-0659F832D51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28344" y="2509021"/>
            <a:ext cx="2128168" cy="132840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8" name="Текст 11">
            <a:extLst>
              <a:ext uri="{FF2B5EF4-FFF2-40B4-BE49-F238E27FC236}">
                <a16:creationId xmlns:a16="http://schemas.microsoft.com/office/drawing/2014/main" xmlns="" id="{E9D45CDB-6683-4E19-B706-41F504DFD77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28920" y="2159886"/>
            <a:ext cx="2127592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9" name="Текст 12">
            <a:extLst>
              <a:ext uri="{FF2B5EF4-FFF2-40B4-BE49-F238E27FC236}">
                <a16:creationId xmlns:a16="http://schemas.microsoft.com/office/drawing/2014/main" xmlns="" id="{91812506-2E90-4E14-B863-57C54494CC2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2813" y="2509021"/>
            <a:ext cx="2128168" cy="1328406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13">
            <a:extLst>
              <a:ext uri="{FF2B5EF4-FFF2-40B4-BE49-F238E27FC236}">
                <a16:creationId xmlns:a16="http://schemas.microsoft.com/office/drawing/2014/main" xmlns="" id="{BE5C3720-5590-49D5-AD9A-B28B5E8252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3764" y="2159886"/>
            <a:ext cx="2127592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42901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97">
          <p15:clr>
            <a:srgbClr val="FBAE40"/>
          </p15:clr>
        </p15:guide>
        <p15:guide id="2" pos="189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родукты компании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82336"/>
            <a:ext cx="9797143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9" name="Текст 2">
            <a:extLst>
              <a:ext uri="{FF2B5EF4-FFF2-40B4-BE49-F238E27FC236}">
                <a16:creationId xmlns:a16="http://schemas.microsoft.com/office/drawing/2014/main" xmlns="" id="{91812506-2E90-4E14-B863-57C54494CC2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01439" y="2851873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3">
            <a:extLst>
              <a:ext uri="{FF2B5EF4-FFF2-40B4-BE49-F238E27FC236}">
                <a16:creationId xmlns:a16="http://schemas.microsoft.com/office/drawing/2014/main" xmlns="" id="{BE5C3720-5590-49D5-AD9A-B28B5E8252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301439" y="2474211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25" name="Текст 4">
            <a:extLst>
              <a:ext uri="{FF2B5EF4-FFF2-40B4-BE49-F238E27FC236}">
                <a16:creationId xmlns:a16="http://schemas.microsoft.com/office/drawing/2014/main" xmlns="" id="{29FF56A5-45A9-4D1E-9E36-70A348A8F3E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98597" y="2480561"/>
            <a:ext cx="231806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1" name="Текст 5">
            <a:extLst>
              <a:ext uri="{FF2B5EF4-FFF2-40B4-BE49-F238E27FC236}">
                <a16:creationId xmlns:a16="http://schemas.microsoft.com/office/drawing/2014/main" xmlns="" id="{4C845177-0088-4265-87D0-24E5DBD8AC2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95755" y="2486211"/>
            <a:ext cx="231806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3" name="Текст 6">
            <a:extLst>
              <a:ext uri="{FF2B5EF4-FFF2-40B4-BE49-F238E27FC236}">
                <a16:creationId xmlns:a16="http://schemas.microsoft.com/office/drawing/2014/main" xmlns="" id="{3E43C58C-38DF-41AE-AE73-CB4B8678DC4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301439" y="4589281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4" name="Текст 7">
            <a:extLst>
              <a:ext uri="{FF2B5EF4-FFF2-40B4-BE49-F238E27FC236}">
                <a16:creationId xmlns:a16="http://schemas.microsoft.com/office/drawing/2014/main" xmlns="" id="{C92D5203-A45A-43E8-9305-388B1B9B2D7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200339" y="4589281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6" name="Текст 8">
            <a:extLst>
              <a:ext uri="{FF2B5EF4-FFF2-40B4-BE49-F238E27FC236}">
                <a16:creationId xmlns:a16="http://schemas.microsoft.com/office/drawing/2014/main" xmlns="" id="{63B9283A-4A14-472B-A5DD-4338A4AE823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95753" y="4589281"/>
            <a:ext cx="231806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7" name="Текст 9">
            <a:extLst>
              <a:ext uri="{FF2B5EF4-FFF2-40B4-BE49-F238E27FC236}">
                <a16:creationId xmlns:a16="http://schemas.microsoft.com/office/drawing/2014/main" xmlns="" id="{AD3B8D5F-9927-41F2-88AD-CA16F4FF5BD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98596" y="2851873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8" name="Текст 10">
            <a:extLst>
              <a:ext uri="{FF2B5EF4-FFF2-40B4-BE49-F238E27FC236}">
                <a16:creationId xmlns:a16="http://schemas.microsoft.com/office/drawing/2014/main" xmlns="" id="{99C65E2C-63B5-4598-AECA-45B56705FAF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95753" y="2851873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9" name="Текст 11">
            <a:extLst>
              <a:ext uri="{FF2B5EF4-FFF2-40B4-BE49-F238E27FC236}">
                <a16:creationId xmlns:a16="http://schemas.microsoft.com/office/drawing/2014/main" xmlns="" id="{FAAC54C8-1C7A-4807-A95D-87E75C3C2EC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095754" y="4959339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0" name="Текст 12">
            <a:extLst>
              <a:ext uri="{FF2B5EF4-FFF2-40B4-BE49-F238E27FC236}">
                <a16:creationId xmlns:a16="http://schemas.microsoft.com/office/drawing/2014/main" xmlns="" id="{0B2BAB1F-42F4-470B-9177-67D0BF63722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199229" y="4962509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1" name="Текст 13">
            <a:extLst>
              <a:ext uri="{FF2B5EF4-FFF2-40B4-BE49-F238E27FC236}">
                <a16:creationId xmlns:a16="http://schemas.microsoft.com/office/drawing/2014/main" xmlns="" id="{490DEB31-01C2-41C7-98C0-29604ED4653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02705" y="4962509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94371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77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родукты компании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82336"/>
            <a:ext cx="9797143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33" name="Текст 2">
            <a:extLst>
              <a:ext uri="{FF2B5EF4-FFF2-40B4-BE49-F238E27FC236}">
                <a16:creationId xmlns:a16="http://schemas.microsoft.com/office/drawing/2014/main" xmlns="" id="{3E43C58C-38DF-41AE-AE73-CB4B8678DC4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356049" y="2711813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1" name="Текст 3">
            <a:extLst>
              <a:ext uri="{FF2B5EF4-FFF2-40B4-BE49-F238E27FC236}">
                <a16:creationId xmlns:a16="http://schemas.microsoft.com/office/drawing/2014/main" xmlns="" id="{490DEB31-01C2-41C7-98C0-29604ED4653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56388" y="3069860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8" name="Текст 4">
            <a:extLst>
              <a:ext uri="{FF2B5EF4-FFF2-40B4-BE49-F238E27FC236}">
                <a16:creationId xmlns:a16="http://schemas.microsoft.com/office/drawing/2014/main" xmlns="" id="{512CF253-F987-4572-987B-B8D3CBCAFBD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023809" y="2711813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xmlns="" id="{D389B55C-3A13-4603-BB3C-8AF8C26B282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691569" y="2711813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0" name="Текст 6">
            <a:extLst>
              <a:ext uri="{FF2B5EF4-FFF2-40B4-BE49-F238E27FC236}">
                <a16:creationId xmlns:a16="http://schemas.microsoft.com/office/drawing/2014/main" xmlns="" id="{6EF719F1-9C05-4EBF-AF10-5D9B615B521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883089" y="4576487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xmlns="" id="{5464E613-98F2-4F3F-848A-379DEB5ADB3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215329" y="4576487"/>
            <a:ext cx="2318400" cy="269732"/>
          </a:xfrm>
        </p:spPr>
        <p:txBody>
          <a:bodyPr>
            <a:noAutofit/>
          </a:bodyPr>
          <a:lstStyle>
            <a:lvl1pPr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3" name="Текст 8">
            <a:extLst>
              <a:ext uri="{FF2B5EF4-FFF2-40B4-BE49-F238E27FC236}">
                <a16:creationId xmlns:a16="http://schemas.microsoft.com/office/drawing/2014/main" xmlns="" id="{7C56D161-B03C-4B94-8BCC-63B3521FD33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15329" y="4943610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4" name="Текст 9">
            <a:extLst>
              <a:ext uri="{FF2B5EF4-FFF2-40B4-BE49-F238E27FC236}">
                <a16:creationId xmlns:a16="http://schemas.microsoft.com/office/drawing/2014/main" xmlns="" id="{B8F2E325-EFC3-40D6-8CCA-8223B88649C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879604" y="4943610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6" name="Текст 10">
            <a:extLst>
              <a:ext uri="{FF2B5EF4-FFF2-40B4-BE49-F238E27FC236}">
                <a16:creationId xmlns:a16="http://schemas.microsoft.com/office/drawing/2014/main" xmlns="" id="{0DDB924A-2F59-46DE-A943-4BC62B6AA1C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022066" y="3069860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7" name="Текст 11">
            <a:extLst>
              <a:ext uri="{FF2B5EF4-FFF2-40B4-BE49-F238E27FC236}">
                <a16:creationId xmlns:a16="http://schemas.microsoft.com/office/drawing/2014/main" xmlns="" id="{39689665-C66D-4C1A-A00D-03A2092B2B6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688084" y="3069860"/>
            <a:ext cx="2318061" cy="1004456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4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93713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инка 60/40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447" y="1013886"/>
            <a:ext cx="5478967" cy="1129472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1" name="Текст 1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1447" y="2469691"/>
            <a:ext cx="5478968" cy="236823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3">
            <a:extLst>
              <a:ext uri="{FF2B5EF4-FFF2-40B4-BE49-F238E27FC236}">
                <a16:creationId xmlns:a16="http://schemas.microsoft.com/office/drawing/2014/main" xmlns="" id="{F82FAA2C-7733-4F9B-896B-1F1CD90A5F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17904" y="5522977"/>
            <a:ext cx="4822510" cy="507492"/>
          </a:xfrm>
        </p:spPr>
        <p:txBody>
          <a:bodyPr>
            <a:noAutofit/>
          </a:bodyPr>
          <a:lstStyle>
            <a:lvl1pPr marL="0" indent="6350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8" name="Картинка 1">
            <a:extLst>
              <a:ext uri="{FF2B5EF4-FFF2-40B4-BE49-F238E27FC236}">
                <a16:creationId xmlns:a16="http://schemas.microsoft.com/office/drawing/2014/main" xmlns="" id="{E0CFFFD7-79C6-4993-8355-67C48B6622A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033260" y="1013886"/>
            <a:ext cx="4206240" cy="499829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9048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42567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инка 40/60 спра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448" y="1013886"/>
            <a:ext cx="3658794" cy="1129472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1" name="Текст 1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1447" y="2469691"/>
            <a:ext cx="3658795" cy="236823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3">
            <a:extLst>
              <a:ext uri="{FF2B5EF4-FFF2-40B4-BE49-F238E27FC236}">
                <a16:creationId xmlns:a16="http://schemas.microsoft.com/office/drawing/2014/main" xmlns="" id="{F82FAA2C-7733-4F9B-896B-1F1CD90A5F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17904" y="5521915"/>
            <a:ext cx="3002338" cy="507600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8" name="Картинка 1">
            <a:extLst>
              <a:ext uri="{FF2B5EF4-FFF2-40B4-BE49-F238E27FC236}">
                <a16:creationId xmlns:a16="http://schemas.microsoft.com/office/drawing/2014/main" xmlns="" id="{E0CFFFD7-79C6-4993-8355-67C48B6622A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925683" y="1013886"/>
            <a:ext cx="6313817" cy="50328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726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инка 40/60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90263" y="1013949"/>
            <a:ext cx="3606387" cy="1129472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1" name="Текст 1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90264" y="2477491"/>
            <a:ext cx="3606386" cy="236823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3">
            <a:extLst>
              <a:ext uri="{FF2B5EF4-FFF2-40B4-BE49-F238E27FC236}">
                <a16:creationId xmlns:a16="http://schemas.microsoft.com/office/drawing/2014/main" xmlns="" id="{F82FAA2C-7733-4F9B-896B-1F1CD90A5F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63217" y="5530474"/>
            <a:ext cx="2933433" cy="507600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8" name="Картинка 1">
            <a:extLst>
              <a:ext uri="{FF2B5EF4-FFF2-40B4-BE49-F238E27FC236}">
                <a16:creationId xmlns:a16="http://schemas.microsoft.com/office/drawing/2014/main" xmlns="" id="{E0CFFFD7-79C6-4993-8355-67C48B6622A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0" y="0"/>
            <a:ext cx="7237379" cy="6858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8806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инка 70/30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448" y="1013886"/>
            <a:ext cx="5792271" cy="1116471"/>
          </a:xfrm>
        </p:spPr>
        <p:txBody>
          <a:bodyPr anchor="t">
            <a:noAutofit/>
          </a:bodyPr>
          <a:lstStyle>
            <a:lvl1pPr>
              <a:defRPr sz="372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1" name="Текст 1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1448" y="2215700"/>
            <a:ext cx="5792271" cy="219092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3">
            <a:extLst>
              <a:ext uri="{FF2B5EF4-FFF2-40B4-BE49-F238E27FC236}">
                <a16:creationId xmlns:a16="http://schemas.microsoft.com/office/drawing/2014/main" xmlns="" id="{F82FAA2C-7733-4F9B-896B-1F1CD90A5F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17903" y="5480426"/>
            <a:ext cx="5135815" cy="550043"/>
          </a:xfrm>
        </p:spPr>
        <p:txBody>
          <a:bodyPr>
            <a:noAutofit/>
          </a:bodyPr>
          <a:lstStyle>
            <a:lvl1pPr marL="0" marR="0" indent="635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635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8" name="Картинка 1">
            <a:extLst>
              <a:ext uri="{FF2B5EF4-FFF2-40B4-BE49-F238E27FC236}">
                <a16:creationId xmlns:a16="http://schemas.microsoft.com/office/drawing/2014/main" xmlns="" id="{E0CFFFD7-79C6-4993-8355-67C48B6622A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226300" y="1013885"/>
            <a:ext cx="4013200" cy="509116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47330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инка 70/30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2023" y="1004361"/>
            <a:ext cx="5792271" cy="1116471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1" name="Текст 1">
            <a:extLst>
              <a:ext uri="{FF2B5EF4-FFF2-40B4-BE49-F238E27FC236}">
                <a16:creationId xmlns:a16="http://schemas.microsoft.com/office/drawing/2014/main" xmlns="" id="{04A05C96-2DF6-4BA5-B23B-363E77BE81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62023" y="2206175"/>
            <a:ext cx="5792271" cy="2190929"/>
          </a:xfrm>
        </p:spPr>
        <p:txBody>
          <a:bodyPr>
            <a:noAutofit/>
          </a:bodyPr>
          <a:lstStyle>
            <a:lvl1pPr>
              <a:lnSpc>
                <a:spcPts val="20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3">
            <a:extLst>
              <a:ext uri="{FF2B5EF4-FFF2-40B4-BE49-F238E27FC236}">
                <a16:creationId xmlns:a16="http://schemas.microsoft.com/office/drawing/2014/main" xmlns="" id="{F82FAA2C-7733-4F9B-896B-1F1CD90A5F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26415" y="5448075"/>
            <a:ext cx="5127878" cy="552205"/>
          </a:xfrm>
        </p:spPr>
        <p:txBody>
          <a:bodyPr>
            <a:noAutofit/>
          </a:bodyPr>
          <a:lstStyle>
            <a:lvl1pPr marL="0" indent="6350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8" name="Картинка 1">
            <a:extLst>
              <a:ext uri="{FF2B5EF4-FFF2-40B4-BE49-F238E27FC236}">
                <a16:creationId xmlns:a16="http://schemas.microsoft.com/office/drawing/2014/main" xmlns="" id="{E0CFFFD7-79C6-4993-8355-67C48B6622A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37706" y="1004361"/>
            <a:ext cx="4013200" cy="499591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9294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464" y="7855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41" name="Текст 2">
            <a:extLst>
              <a:ext uri="{FF2B5EF4-FFF2-40B4-BE49-F238E27FC236}">
                <a16:creationId xmlns:a16="http://schemas.microsoft.com/office/drawing/2014/main" xmlns="" id="{490DEB31-01C2-41C7-98C0-29604ED4653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5037" y="5281402"/>
            <a:ext cx="2118909" cy="30501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xmlns="" id="{B8F2E325-EFC3-40D6-8CCA-8223B88649C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66464" y="1472050"/>
            <a:ext cx="9877736" cy="63425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FC75F02B-B141-4558-A9E2-7D67181EE6C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35038" y="5605465"/>
            <a:ext cx="2118908" cy="390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7" name="Текст 5">
            <a:extLst>
              <a:ext uri="{FF2B5EF4-FFF2-40B4-BE49-F238E27FC236}">
                <a16:creationId xmlns:a16="http://schemas.microsoft.com/office/drawing/2014/main" xmlns="" id="{F60E86E5-F44A-4865-913C-5041CDFBEE6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65872" y="5281401"/>
            <a:ext cx="2128242" cy="30501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2" name="Текст 6">
            <a:extLst>
              <a:ext uri="{FF2B5EF4-FFF2-40B4-BE49-F238E27FC236}">
                <a16:creationId xmlns:a16="http://schemas.microsoft.com/office/drawing/2014/main" xmlns="" id="{AD706A03-8EFE-429F-900F-2B735A9984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665871" y="5605465"/>
            <a:ext cx="2128243" cy="390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xmlns="" id="{61525B09-6BE4-480F-9131-5B7EC2CB94C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136479" y="5281401"/>
            <a:ext cx="2124000" cy="30501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6" name="Картинка 1">
            <a:extLst>
              <a:ext uri="{FF2B5EF4-FFF2-40B4-BE49-F238E27FC236}">
                <a16:creationId xmlns:a16="http://schemas.microsoft.com/office/drawing/2014/main" xmlns="" id="{B0B02561-D521-49B0-96C6-43F3A8A39153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935037" y="2686050"/>
            <a:ext cx="2124000" cy="2484000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35" name="Картинка 2">
            <a:extLst>
              <a:ext uri="{FF2B5EF4-FFF2-40B4-BE49-F238E27FC236}">
                <a16:creationId xmlns:a16="http://schemas.microsoft.com/office/drawing/2014/main" xmlns="" id="{2571061A-5205-4280-87CB-7E0C00F39C48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670114" y="2686050"/>
            <a:ext cx="2124000" cy="2484000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36" name="Картинка 3">
            <a:extLst>
              <a:ext uri="{FF2B5EF4-FFF2-40B4-BE49-F238E27FC236}">
                <a16:creationId xmlns:a16="http://schemas.microsoft.com/office/drawing/2014/main" xmlns="" id="{340852FF-E389-4639-A226-A1A7841E201B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6405191" y="2686050"/>
            <a:ext cx="2124000" cy="2484000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37" name="Картинка 4">
            <a:extLst>
              <a:ext uri="{FF2B5EF4-FFF2-40B4-BE49-F238E27FC236}">
                <a16:creationId xmlns:a16="http://schemas.microsoft.com/office/drawing/2014/main" xmlns="" id="{193B00E2-2D41-4E6B-9415-129ED0F2EFE3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9140268" y="2686050"/>
            <a:ext cx="2124000" cy="2484000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8" name="Текст 8">
            <a:extLst>
              <a:ext uri="{FF2B5EF4-FFF2-40B4-BE49-F238E27FC236}">
                <a16:creationId xmlns:a16="http://schemas.microsoft.com/office/drawing/2014/main" xmlns="" id="{E3A6380D-186C-4B6D-A706-8D4E0E52FE9B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96311" y="5605464"/>
            <a:ext cx="2118908" cy="390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9" name="Текст 9">
            <a:extLst>
              <a:ext uri="{FF2B5EF4-FFF2-40B4-BE49-F238E27FC236}">
                <a16:creationId xmlns:a16="http://schemas.microsoft.com/office/drawing/2014/main" xmlns="" id="{B9842231-95DA-45D4-AE6F-B64EC44989C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145360" y="5605464"/>
            <a:ext cx="2118908" cy="390527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0" name="Текст 10">
            <a:extLst>
              <a:ext uri="{FF2B5EF4-FFF2-40B4-BE49-F238E27FC236}">
                <a16:creationId xmlns:a16="http://schemas.microsoft.com/office/drawing/2014/main" xmlns="" id="{F4F58D1F-FDD9-4380-9C0C-3AE2478B811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405191" y="5281400"/>
            <a:ext cx="2124000" cy="305011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1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91652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793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воя 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32" name="Текст 2">
            <a:extLst>
              <a:ext uri="{FF2B5EF4-FFF2-40B4-BE49-F238E27FC236}">
                <a16:creationId xmlns:a16="http://schemas.microsoft.com/office/drawing/2014/main" xmlns="" id="{9EB55049-0B30-4A0F-BFE4-EC1A693F5C0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201848" y="4457010"/>
            <a:ext cx="1836000" cy="273050"/>
          </a:xfrm>
        </p:spPr>
        <p:txBody>
          <a:bodyPr>
            <a:noAutofit/>
          </a:bodyPr>
          <a:lstStyle>
            <a:lvl1pPr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5" name="Картинка 1">
            <a:extLst>
              <a:ext uri="{FF2B5EF4-FFF2-40B4-BE49-F238E27FC236}">
                <a16:creationId xmlns:a16="http://schemas.microsoft.com/office/drawing/2014/main" xmlns="" id="{FE5AD0F3-17B1-4701-93DB-575A4E52A001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1147764" y="1971675"/>
            <a:ext cx="2939100" cy="2935728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2" name="Картинка 2">
            <a:extLst>
              <a:ext uri="{FF2B5EF4-FFF2-40B4-BE49-F238E27FC236}">
                <a16:creationId xmlns:a16="http://schemas.microsoft.com/office/drawing/2014/main" xmlns="" id="{AE0D8DEF-C269-43E5-BE8A-146630058471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4630104" y="1965325"/>
            <a:ext cx="2939100" cy="2949698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3" name="Картинка 3">
            <a:extLst>
              <a:ext uri="{FF2B5EF4-FFF2-40B4-BE49-F238E27FC236}">
                <a16:creationId xmlns:a16="http://schemas.microsoft.com/office/drawing/2014/main" xmlns="" id="{C80FFA5C-8235-46EE-AA23-A115A6B63522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8099744" y="1971675"/>
            <a:ext cx="2939100" cy="294522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5" name="Текст 3">
            <a:extLst>
              <a:ext uri="{FF2B5EF4-FFF2-40B4-BE49-F238E27FC236}">
                <a16:creationId xmlns:a16="http://schemas.microsoft.com/office/drawing/2014/main" xmlns="" id="{B00D174C-5E9F-4E6F-9FBA-E03264892C6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714668" y="1767150"/>
            <a:ext cx="1836000" cy="273050"/>
          </a:xfrm>
        </p:spPr>
        <p:txBody>
          <a:bodyPr>
            <a:noAutofit/>
          </a:bodyPr>
          <a:lstStyle>
            <a:lvl1pPr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7" name="Текст 4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166528" y="4457010"/>
            <a:ext cx="1836000" cy="273050"/>
          </a:xfrm>
        </p:spPr>
        <p:txBody>
          <a:bodyPr>
            <a:noAutofit/>
          </a:bodyPr>
          <a:lstStyle>
            <a:lvl1pPr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xmlns="" id="{7F8FBA6A-C9F7-44BD-A5AF-3A132BA6304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201848" y="4714876"/>
            <a:ext cx="1836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xmlns="" id="{8D73ADE5-11A5-44F7-91CF-37A30BE5BACA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0166528" y="4715441"/>
            <a:ext cx="1836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xmlns="" id="{DEF5C536-6FA0-4EF7-B30A-AA4DBDDD5CBE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714668" y="2025722"/>
            <a:ext cx="1836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3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10301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воя команд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1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783078" y="3879829"/>
            <a:ext cx="1591200" cy="273050"/>
          </a:xfrm>
        </p:spPr>
        <p:txBody>
          <a:bodyPr>
            <a:noAutofit/>
          </a:bodyPr>
          <a:lstStyle>
            <a:lvl1pPr algn="r"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792222" y="1831699"/>
            <a:ext cx="1590699" cy="273050"/>
          </a:xfrm>
        </p:spPr>
        <p:txBody>
          <a:bodyPr>
            <a:noAutofit/>
          </a:bodyPr>
          <a:lstStyle>
            <a:lvl1pPr algn="r"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47" name="Текст 4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833836" y="1835486"/>
            <a:ext cx="1591200" cy="273050"/>
          </a:xfrm>
        </p:spPr>
        <p:txBody>
          <a:bodyPr>
            <a:noAutofit/>
          </a:bodyPr>
          <a:lstStyle>
            <a:lvl1pPr algn="l"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3" name="Картинка 1">
            <a:extLst>
              <a:ext uri="{FF2B5EF4-FFF2-40B4-BE49-F238E27FC236}">
                <a16:creationId xmlns:a16="http://schemas.microsoft.com/office/drawing/2014/main" xmlns="" id="{481809E7-0D6C-43D3-8569-AFB2E5EB889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3584391" y="1714500"/>
            <a:ext cx="2381434" cy="1806709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25" name="Картинка 2">
            <a:extLst>
              <a:ext uri="{FF2B5EF4-FFF2-40B4-BE49-F238E27FC236}">
                <a16:creationId xmlns:a16="http://schemas.microsoft.com/office/drawing/2014/main" xmlns="" id="{7C2C1A25-5A86-4497-8E2E-4B777F45FD8D}"/>
              </a:ext>
            </a:extLst>
          </p:cNvPr>
          <p:cNvSpPr>
            <a:spLocks noGrp="1"/>
          </p:cNvSpPr>
          <p:nvPr>
            <p:ph type="pic" sz="quarter" idx="85" hasCustomPrompt="1"/>
          </p:nvPr>
        </p:nvSpPr>
        <p:spPr>
          <a:xfrm>
            <a:off x="3585979" y="3787776"/>
            <a:ext cx="2381434" cy="1806709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26" name="Картинка 3">
            <a:extLst>
              <a:ext uri="{FF2B5EF4-FFF2-40B4-BE49-F238E27FC236}">
                <a16:creationId xmlns:a16="http://schemas.microsoft.com/office/drawing/2014/main" xmlns="" id="{BA671DDF-2F68-429E-A77A-9700BC730D1B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6252979" y="3787776"/>
            <a:ext cx="2381434" cy="1806709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27" name="Картинка 4">
            <a:extLst>
              <a:ext uri="{FF2B5EF4-FFF2-40B4-BE49-F238E27FC236}">
                <a16:creationId xmlns:a16="http://schemas.microsoft.com/office/drawing/2014/main" xmlns="" id="{A5FCACA3-3058-49ED-BCFA-1A073C1C8982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6252979" y="1714500"/>
            <a:ext cx="2381434" cy="1806709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34" name="Текст 5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833837" y="3879829"/>
            <a:ext cx="1591199" cy="273050"/>
          </a:xfrm>
        </p:spPr>
        <p:txBody>
          <a:bodyPr>
            <a:noAutofit/>
          </a:bodyPr>
          <a:lstStyle>
            <a:lvl1pPr algn="l"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94" hasCustomPrompt="1"/>
          </p:nvPr>
        </p:nvSpPr>
        <p:spPr>
          <a:xfrm>
            <a:off x="1783079" y="2071792"/>
            <a:ext cx="1591200" cy="571500"/>
          </a:xfrm>
        </p:spPr>
        <p:txBody>
          <a:bodyPr>
            <a:noAutofit/>
          </a:bodyPr>
          <a:lstStyle>
            <a:lvl1pPr algn="r"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95" hasCustomPrompt="1"/>
          </p:nvPr>
        </p:nvSpPr>
        <p:spPr>
          <a:xfrm>
            <a:off x="1790171" y="4119630"/>
            <a:ext cx="1591200" cy="571500"/>
          </a:xfrm>
        </p:spPr>
        <p:txBody>
          <a:bodyPr>
            <a:noAutofit/>
          </a:bodyPr>
          <a:lstStyle>
            <a:lvl1pPr algn="r"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96" hasCustomPrompt="1"/>
          </p:nvPr>
        </p:nvSpPr>
        <p:spPr>
          <a:xfrm>
            <a:off x="8833835" y="2071792"/>
            <a:ext cx="1591201" cy="571500"/>
          </a:xfrm>
        </p:spPr>
        <p:txBody>
          <a:bodyPr>
            <a:noAutofit/>
          </a:bodyPr>
          <a:lstStyle>
            <a:lvl1pPr algn="l"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8" name="Текст 9"/>
          <p:cNvSpPr>
            <a:spLocks noGrp="1"/>
          </p:cNvSpPr>
          <p:nvPr>
            <p:ph type="body" sz="quarter" idx="97" hasCustomPrompt="1"/>
          </p:nvPr>
        </p:nvSpPr>
        <p:spPr>
          <a:xfrm>
            <a:off x="8833835" y="4119630"/>
            <a:ext cx="1591201" cy="571500"/>
          </a:xfrm>
        </p:spPr>
        <p:txBody>
          <a:bodyPr>
            <a:noAutofit/>
          </a:bodyPr>
          <a:lstStyle>
            <a:lvl1pPr algn="l"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83429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162">
          <p15:clr>
            <a:srgbClr val="FBAE40"/>
          </p15:clr>
        </p15:guide>
        <p15:guide id="2" pos="715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воя 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5" name="Картинка 1">
            <a:extLst>
              <a:ext uri="{FF2B5EF4-FFF2-40B4-BE49-F238E27FC236}">
                <a16:creationId xmlns:a16="http://schemas.microsoft.com/office/drawing/2014/main" xmlns="" id="{FE5AD0F3-17B1-4701-93DB-575A4E52A001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1893341" y="1412608"/>
            <a:ext cx="2206800" cy="2206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2" name="Картинка 2">
            <a:extLst>
              <a:ext uri="{FF2B5EF4-FFF2-40B4-BE49-F238E27FC236}">
                <a16:creationId xmlns:a16="http://schemas.microsoft.com/office/drawing/2014/main" xmlns="" id="{AE0D8DEF-C269-43E5-BE8A-146630058471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3712799" y="1305559"/>
            <a:ext cx="4766400" cy="47664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6" name="Картинка 3">
            <a:extLst>
              <a:ext uri="{FF2B5EF4-FFF2-40B4-BE49-F238E27FC236}">
                <a16:creationId xmlns:a16="http://schemas.microsoft.com/office/drawing/2014/main" xmlns="" id="{F2D8F622-F95B-4D4C-AD60-4930AFF1070E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8094116" y="1402517"/>
            <a:ext cx="2206800" cy="2206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7" name="Картинка 4">
            <a:extLst>
              <a:ext uri="{FF2B5EF4-FFF2-40B4-BE49-F238E27FC236}">
                <a16:creationId xmlns:a16="http://schemas.microsoft.com/office/drawing/2014/main" xmlns="" id="{44FCBEF5-2680-42C9-A7AF-8BFAECDF302E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8091857" y="3749141"/>
            <a:ext cx="2206800" cy="2206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9" name="Картинка 5">
            <a:extLst>
              <a:ext uri="{FF2B5EF4-FFF2-40B4-BE49-F238E27FC236}">
                <a16:creationId xmlns:a16="http://schemas.microsoft.com/office/drawing/2014/main" xmlns="" id="{5840AAF6-326A-4AA0-AD58-1048DD7D7FB5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1893341" y="3749141"/>
            <a:ext cx="2206800" cy="22068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xmlns="" id="{B1463897-6F76-4E37-9E82-52EEB22B816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21404" y="1449385"/>
            <a:ext cx="1638000" cy="273050"/>
          </a:xfrm>
        </p:spPr>
        <p:txBody>
          <a:bodyPr>
            <a:noAutofit/>
          </a:bodyPr>
          <a:lstStyle>
            <a:lvl1pPr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6" name="Текст 3">
            <a:extLst>
              <a:ext uri="{FF2B5EF4-FFF2-40B4-BE49-F238E27FC236}">
                <a16:creationId xmlns:a16="http://schemas.microsoft.com/office/drawing/2014/main" xmlns="" id="{AA3092C5-9DBE-46EF-86E3-A209316AAD6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21384" y="1701928"/>
            <a:ext cx="1638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1" name="Текст 4">
            <a:extLst>
              <a:ext uri="{FF2B5EF4-FFF2-40B4-BE49-F238E27FC236}">
                <a16:creationId xmlns:a16="http://schemas.microsoft.com/office/drawing/2014/main" xmlns="" id="{D0659D5D-4D8E-40E9-B64F-33F6594A842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919023" y="5257110"/>
            <a:ext cx="1638000" cy="273050"/>
          </a:xfrm>
        </p:spPr>
        <p:txBody>
          <a:bodyPr>
            <a:noAutofit/>
          </a:bodyPr>
          <a:lstStyle>
            <a:lvl1pPr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3" name="Текст 5">
            <a:extLst>
              <a:ext uri="{FF2B5EF4-FFF2-40B4-BE49-F238E27FC236}">
                <a16:creationId xmlns:a16="http://schemas.microsoft.com/office/drawing/2014/main" xmlns="" id="{B177A2A5-224A-46C2-91AF-1753C81193F4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19023" y="5511928"/>
            <a:ext cx="1638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4" name="Текст 6">
            <a:extLst>
              <a:ext uri="{FF2B5EF4-FFF2-40B4-BE49-F238E27FC236}">
                <a16:creationId xmlns:a16="http://schemas.microsoft.com/office/drawing/2014/main" xmlns="" id="{4324FD57-673B-426E-B68A-1C5CB8F2CEF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4003674" y="5257110"/>
            <a:ext cx="1638000" cy="27305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5" name="Текст 7">
            <a:extLst>
              <a:ext uri="{FF2B5EF4-FFF2-40B4-BE49-F238E27FC236}">
                <a16:creationId xmlns:a16="http://schemas.microsoft.com/office/drawing/2014/main" xmlns="" id="{7F688C2B-446B-4B09-AF57-1C31B40CBDF0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003674" y="5511928"/>
            <a:ext cx="1638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6" name="Текст 8">
            <a:extLst>
              <a:ext uri="{FF2B5EF4-FFF2-40B4-BE49-F238E27FC236}">
                <a16:creationId xmlns:a16="http://schemas.microsoft.com/office/drawing/2014/main" xmlns="" id="{8E870B00-0626-457B-B48C-CED741D9C67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0167798" y="5257110"/>
            <a:ext cx="1638000" cy="273050"/>
          </a:xfrm>
        </p:spPr>
        <p:txBody>
          <a:bodyPr>
            <a:noAutofit/>
          </a:bodyPr>
          <a:lstStyle>
            <a:lvl1pPr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7" name="Текст 9">
            <a:extLst>
              <a:ext uri="{FF2B5EF4-FFF2-40B4-BE49-F238E27FC236}">
                <a16:creationId xmlns:a16="http://schemas.microsoft.com/office/drawing/2014/main" xmlns="" id="{71BCBCE5-9352-433B-ADAC-4E5ECFA28708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0169524" y="5511928"/>
            <a:ext cx="1638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8" name="Текст 10">
            <a:extLst>
              <a:ext uri="{FF2B5EF4-FFF2-40B4-BE49-F238E27FC236}">
                <a16:creationId xmlns:a16="http://schemas.microsoft.com/office/drawing/2014/main" xmlns="" id="{51E1552E-62E8-4A76-81C5-D1166A1C539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0167798" y="1456635"/>
            <a:ext cx="1638000" cy="273050"/>
          </a:xfrm>
        </p:spPr>
        <p:txBody>
          <a:bodyPr>
            <a:noAutofit/>
          </a:bodyPr>
          <a:lstStyle>
            <a:lvl1pPr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9" name="Текст 11">
            <a:extLst>
              <a:ext uri="{FF2B5EF4-FFF2-40B4-BE49-F238E27FC236}">
                <a16:creationId xmlns:a16="http://schemas.microsoft.com/office/drawing/2014/main" xmlns="" id="{5B12F9BC-34FC-4F0B-8F98-CA0515495C8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0169524" y="1711453"/>
            <a:ext cx="1638000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785237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748">
          <p15:clr>
            <a:srgbClr val="FBAE40"/>
          </p15:clr>
        </p15:guide>
        <p15:guide id="2" pos="744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оманда основател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2">
            <a:extLst>
              <a:ext uri="{FF2B5EF4-FFF2-40B4-BE49-F238E27FC236}">
                <a16:creationId xmlns:a16="http://schemas.microsoft.com/office/drawing/2014/main" xmlns="" id="{F60E86E5-F44A-4865-913C-5041CDFBEE6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46742" y="1633328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2" name="Текст 3">
            <a:extLst>
              <a:ext uri="{FF2B5EF4-FFF2-40B4-BE49-F238E27FC236}">
                <a16:creationId xmlns:a16="http://schemas.microsoft.com/office/drawing/2014/main" xmlns="" id="{AD706A03-8EFE-429F-900F-2B735A99847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646743" y="1906720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6" name="Картинка 1">
            <a:extLst>
              <a:ext uri="{FF2B5EF4-FFF2-40B4-BE49-F238E27FC236}">
                <a16:creationId xmlns:a16="http://schemas.microsoft.com/office/drawing/2014/main" xmlns="" id="{B0B02561-D521-49B0-96C6-43F3A8A39153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982588" y="1631183"/>
            <a:ext cx="2562885" cy="2093634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31" name="Текст 4">
            <a:extLst>
              <a:ext uri="{FF2B5EF4-FFF2-40B4-BE49-F238E27FC236}">
                <a16:creationId xmlns:a16="http://schemas.microsoft.com/office/drawing/2014/main" xmlns="" id="{4C75B461-42A4-4CD9-B600-A66D91052F5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46742" y="4115544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2" name="Текст 5">
            <a:extLst>
              <a:ext uri="{FF2B5EF4-FFF2-40B4-BE49-F238E27FC236}">
                <a16:creationId xmlns:a16="http://schemas.microsoft.com/office/drawing/2014/main" xmlns="" id="{07074037-A1E4-4299-A1E4-5401C7F4E31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646743" y="4388936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3" name="Текст 6">
            <a:extLst>
              <a:ext uri="{FF2B5EF4-FFF2-40B4-BE49-F238E27FC236}">
                <a16:creationId xmlns:a16="http://schemas.microsoft.com/office/drawing/2014/main" xmlns="" id="{2A3EC023-EFF2-4CD0-B701-63100E97555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234104" y="4117077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4" name="Текст 7">
            <a:extLst>
              <a:ext uri="{FF2B5EF4-FFF2-40B4-BE49-F238E27FC236}">
                <a16:creationId xmlns:a16="http://schemas.microsoft.com/office/drawing/2014/main" xmlns="" id="{E9018A6A-379A-4B42-AF38-ED030D1A9B40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234105" y="4390469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8" name="Текст 8">
            <a:extLst>
              <a:ext uri="{FF2B5EF4-FFF2-40B4-BE49-F238E27FC236}">
                <a16:creationId xmlns:a16="http://schemas.microsoft.com/office/drawing/2014/main" xmlns="" id="{0CDDF3F2-A7D3-4920-B1EE-C516E6FB763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234104" y="1632641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9" name="Текст 9">
            <a:extLst>
              <a:ext uri="{FF2B5EF4-FFF2-40B4-BE49-F238E27FC236}">
                <a16:creationId xmlns:a16="http://schemas.microsoft.com/office/drawing/2014/main" xmlns="" id="{C9CC5042-C6F5-4542-B83D-2BF456D1622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234105" y="1906033"/>
            <a:ext cx="1943100" cy="2952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42" name="Картинка 2">
            <a:extLst>
              <a:ext uri="{FF2B5EF4-FFF2-40B4-BE49-F238E27FC236}">
                <a16:creationId xmlns:a16="http://schemas.microsoft.com/office/drawing/2014/main" xmlns="" id="{B16D47DA-00F4-4D39-B4D9-86B0BE13FF6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986300" y="4116694"/>
            <a:ext cx="2562885" cy="2093634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4" name="Картинка 3">
            <a:extLst>
              <a:ext uri="{FF2B5EF4-FFF2-40B4-BE49-F238E27FC236}">
                <a16:creationId xmlns:a16="http://schemas.microsoft.com/office/drawing/2014/main" xmlns="" id="{6984D61B-1E84-4A1F-92E8-4B374411E152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6580396" y="1632257"/>
            <a:ext cx="2562885" cy="2093634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45" name="Картинка 4">
            <a:extLst>
              <a:ext uri="{FF2B5EF4-FFF2-40B4-BE49-F238E27FC236}">
                <a16:creationId xmlns:a16="http://schemas.microsoft.com/office/drawing/2014/main" xmlns="" id="{A5104C64-A81C-4C96-96DC-61C6BCF75784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6569919" y="4116693"/>
            <a:ext cx="2562885" cy="2093634"/>
          </a:xfr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6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8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60422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591">
          <p15:clr>
            <a:srgbClr val="FBAE40"/>
          </p15:clr>
        </p15:guide>
        <p15:guide id="2" pos="619">
          <p15:clr>
            <a:srgbClr val="FBAE40"/>
          </p15:clr>
        </p15:guide>
        <p15:guide id="3" pos="36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иаграм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464" y="582336"/>
            <a:ext cx="100174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xmlns="" id="{B8F2E325-EFC3-40D6-8CCA-8223B88649C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66464" y="1281550"/>
            <a:ext cx="10017436" cy="634257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31" name="Текст 3">
            <a:extLst>
              <a:ext uri="{FF2B5EF4-FFF2-40B4-BE49-F238E27FC236}">
                <a16:creationId xmlns:a16="http://schemas.microsoft.com/office/drawing/2014/main" xmlns="" id="{616599DC-CDE4-429A-805A-DBEF58168F8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489711" y="4090988"/>
            <a:ext cx="868679" cy="30002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71" hasCustomPrompt="1"/>
          </p:nvPr>
        </p:nvSpPr>
        <p:spPr>
          <a:xfrm>
            <a:off x="1647826" y="6022205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30" name="Текст 5"/>
          <p:cNvSpPr>
            <a:spLocks noGrp="1"/>
          </p:cNvSpPr>
          <p:nvPr>
            <p:ph type="body" sz="quarter" idx="72" hasCustomPrompt="1"/>
          </p:nvPr>
        </p:nvSpPr>
        <p:spPr>
          <a:xfrm>
            <a:off x="2971801" y="6022204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35" name="Текст 6"/>
          <p:cNvSpPr>
            <a:spLocks noGrp="1"/>
          </p:cNvSpPr>
          <p:nvPr>
            <p:ph type="body" sz="quarter" idx="73" hasCustomPrompt="1"/>
          </p:nvPr>
        </p:nvSpPr>
        <p:spPr>
          <a:xfrm>
            <a:off x="4295776" y="6022204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5619751" y="6022204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75" hasCustomPrompt="1"/>
          </p:nvPr>
        </p:nvSpPr>
        <p:spPr>
          <a:xfrm>
            <a:off x="6943726" y="6022204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49" name="Текст 9"/>
          <p:cNvSpPr>
            <a:spLocks noGrp="1"/>
          </p:cNvSpPr>
          <p:nvPr>
            <p:ph type="body" sz="quarter" idx="77" hasCustomPrompt="1"/>
          </p:nvPr>
        </p:nvSpPr>
        <p:spPr>
          <a:xfrm>
            <a:off x="9591676" y="6022204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50" name="Текст 10"/>
          <p:cNvSpPr>
            <a:spLocks noGrp="1"/>
          </p:cNvSpPr>
          <p:nvPr>
            <p:ph type="body" sz="quarter" idx="78" hasCustomPrompt="1"/>
          </p:nvPr>
        </p:nvSpPr>
        <p:spPr>
          <a:xfrm>
            <a:off x="8267701" y="6022204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Дата</a:t>
            </a:r>
          </a:p>
        </p:txBody>
      </p:sp>
      <p:sp>
        <p:nvSpPr>
          <p:cNvPr id="52" name="Текст 11">
            <a:extLst>
              <a:ext uri="{FF2B5EF4-FFF2-40B4-BE49-F238E27FC236}">
                <a16:creationId xmlns:a16="http://schemas.microsoft.com/office/drawing/2014/main" xmlns="" id="{616599DC-CDE4-429A-805A-DBEF58168F8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2853786" y="4796219"/>
            <a:ext cx="788479" cy="30002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53" name="Текст 12">
            <a:extLst>
              <a:ext uri="{FF2B5EF4-FFF2-40B4-BE49-F238E27FC236}">
                <a16:creationId xmlns:a16="http://schemas.microsoft.com/office/drawing/2014/main" xmlns="" id="{616599DC-CDE4-429A-805A-DBEF58168F8F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4176809" y="4391012"/>
            <a:ext cx="790384" cy="30002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54" name="Текст 13">
            <a:extLst>
              <a:ext uri="{FF2B5EF4-FFF2-40B4-BE49-F238E27FC236}">
                <a16:creationId xmlns:a16="http://schemas.microsoft.com/office/drawing/2014/main" xmlns="" id="{616599DC-CDE4-429A-805A-DBEF58168F8F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495259" y="3790964"/>
            <a:ext cx="801433" cy="30002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55" name="Текст 14">
            <a:extLst>
              <a:ext uri="{FF2B5EF4-FFF2-40B4-BE49-F238E27FC236}">
                <a16:creationId xmlns:a16="http://schemas.microsoft.com/office/drawing/2014/main" xmlns="" id="{616599DC-CDE4-429A-805A-DBEF58168F8F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803328" y="3278988"/>
            <a:ext cx="833246" cy="30002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56" name="Текст 15">
            <a:extLst>
              <a:ext uri="{FF2B5EF4-FFF2-40B4-BE49-F238E27FC236}">
                <a16:creationId xmlns:a16="http://schemas.microsoft.com/office/drawing/2014/main" xmlns="" id="{616599DC-CDE4-429A-805A-DBEF58168F8F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145876" y="2626985"/>
            <a:ext cx="796099" cy="30002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57" name="Текст 16">
            <a:extLst>
              <a:ext uri="{FF2B5EF4-FFF2-40B4-BE49-F238E27FC236}">
                <a16:creationId xmlns:a16="http://schemas.microsoft.com/office/drawing/2014/main" xmlns="" id="{616599DC-CDE4-429A-805A-DBEF58168F8F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390270" y="1971372"/>
            <a:ext cx="955261" cy="30002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19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34067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4011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иаграм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>
            <a:extLst>
              <a:ext uri="{FF2B5EF4-FFF2-40B4-BE49-F238E27FC236}">
                <a16:creationId xmlns:a16="http://schemas.microsoft.com/office/drawing/2014/main" xmlns="" id="{B8F2E325-EFC3-40D6-8CCA-8223B88649C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66464" y="1281550"/>
            <a:ext cx="9906311" cy="634257"/>
          </a:xfrm>
        </p:spPr>
        <p:txBody>
          <a:bodyPr>
            <a:noAutofit/>
          </a:bodyPr>
          <a:lstStyle>
            <a:lvl1pPr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71" hasCustomPrompt="1"/>
          </p:nvPr>
        </p:nvSpPr>
        <p:spPr>
          <a:xfrm>
            <a:off x="2207815" y="5934258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72" hasCustomPrompt="1"/>
          </p:nvPr>
        </p:nvSpPr>
        <p:spPr>
          <a:xfrm>
            <a:off x="4175185" y="5935106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9" name="Текст 5"/>
          <p:cNvSpPr>
            <a:spLocks noGrp="1"/>
          </p:cNvSpPr>
          <p:nvPr>
            <p:ph type="body" sz="quarter" idx="73" hasCustomPrompt="1"/>
          </p:nvPr>
        </p:nvSpPr>
        <p:spPr>
          <a:xfrm>
            <a:off x="8102781" y="5950734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74" hasCustomPrompt="1"/>
          </p:nvPr>
        </p:nvSpPr>
        <p:spPr>
          <a:xfrm>
            <a:off x="6137792" y="5946871"/>
            <a:ext cx="552450" cy="207145"/>
          </a:xfr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845152" y="2623412"/>
            <a:ext cx="552450" cy="207145"/>
          </a:xfrm>
        </p:spPr>
        <p:txBody>
          <a:bodyPr>
            <a:noAutofit/>
          </a:bodyPr>
          <a:lstStyle>
            <a:lvl1pPr algn="r"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76" hasCustomPrompt="1"/>
          </p:nvPr>
        </p:nvSpPr>
        <p:spPr>
          <a:xfrm>
            <a:off x="845152" y="3230952"/>
            <a:ext cx="552450" cy="207145"/>
          </a:xfrm>
        </p:spPr>
        <p:txBody>
          <a:bodyPr>
            <a:noAutofit/>
          </a:bodyPr>
          <a:lstStyle>
            <a:lvl1pPr algn="r"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5" name="Текст 9"/>
          <p:cNvSpPr>
            <a:spLocks noGrp="1"/>
          </p:cNvSpPr>
          <p:nvPr>
            <p:ph type="body" sz="quarter" idx="77" hasCustomPrompt="1"/>
          </p:nvPr>
        </p:nvSpPr>
        <p:spPr>
          <a:xfrm>
            <a:off x="845152" y="3838492"/>
            <a:ext cx="552450" cy="207145"/>
          </a:xfrm>
        </p:spPr>
        <p:txBody>
          <a:bodyPr>
            <a:noAutofit/>
          </a:bodyPr>
          <a:lstStyle>
            <a:lvl1pPr algn="r"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10"/>
          <p:cNvSpPr>
            <a:spLocks noGrp="1"/>
          </p:cNvSpPr>
          <p:nvPr>
            <p:ph type="body" sz="quarter" idx="78" hasCustomPrompt="1"/>
          </p:nvPr>
        </p:nvSpPr>
        <p:spPr>
          <a:xfrm>
            <a:off x="845152" y="4446032"/>
            <a:ext cx="552450" cy="207145"/>
          </a:xfrm>
        </p:spPr>
        <p:txBody>
          <a:bodyPr>
            <a:noAutofit/>
          </a:bodyPr>
          <a:lstStyle>
            <a:lvl1pPr algn="r"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9" name="Текст 11"/>
          <p:cNvSpPr>
            <a:spLocks noGrp="1"/>
          </p:cNvSpPr>
          <p:nvPr>
            <p:ph type="body" sz="quarter" idx="79" hasCustomPrompt="1"/>
          </p:nvPr>
        </p:nvSpPr>
        <p:spPr>
          <a:xfrm>
            <a:off x="845152" y="5053572"/>
            <a:ext cx="552450" cy="207145"/>
          </a:xfrm>
        </p:spPr>
        <p:txBody>
          <a:bodyPr>
            <a:noAutofit/>
          </a:bodyPr>
          <a:lstStyle>
            <a:lvl1pPr algn="r"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80" hasCustomPrompt="1"/>
          </p:nvPr>
        </p:nvSpPr>
        <p:spPr>
          <a:xfrm>
            <a:off x="845152" y="5661113"/>
            <a:ext cx="552450" cy="207145"/>
          </a:xfrm>
        </p:spPr>
        <p:txBody>
          <a:bodyPr>
            <a:noAutofit/>
          </a:bodyPr>
          <a:lstStyle>
            <a:lvl1pPr algn="r">
              <a:defRPr sz="1200">
                <a:latin typeface="Roboto Thin" panose="02000000000000000000" pitchFamily="2" charset="0"/>
                <a:ea typeface="Roboto Thin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1" name="Текст 13"/>
          <p:cNvSpPr>
            <a:spLocks noGrp="1"/>
          </p:cNvSpPr>
          <p:nvPr>
            <p:ph type="body" sz="quarter" idx="81" hasCustomPrompt="1"/>
          </p:nvPr>
        </p:nvSpPr>
        <p:spPr>
          <a:xfrm>
            <a:off x="10008973" y="3334524"/>
            <a:ext cx="1359243" cy="207145"/>
          </a:xfrm>
        </p:spPr>
        <p:txBody>
          <a:bodyPr>
            <a:noAutofit/>
          </a:bodyPr>
          <a:lstStyle>
            <a:lvl1pPr algn="l">
              <a:defRPr sz="13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2" name="Текст 14"/>
          <p:cNvSpPr>
            <a:spLocks noGrp="1"/>
          </p:cNvSpPr>
          <p:nvPr>
            <p:ph type="body" sz="quarter" idx="82" hasCustomPrompt="1"/>
          </p:nvPr>
        </p:nvSpPr>
        <p:spPr>
          <a:xfrm>
            <a:off x="10008973" y="3793193"/>
            <a:ext cx="1359243" cy="207145"/>
          </a:xfrm>
        </p:spPr>
        <p:txBody>
          <a:bodyPr>
            <a:noAutofit/>
          </a:bodyPr>
          <a:lstStyle>
            <a:lvl1pPr algn="l">
              <a:defRPr sz="13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/>
              <a:t>Введите текст</a:t>
            </a:r>
            <a:endParaRPr lang="ru-RU" dirty="0"/>
          </a:p>
        </p:txBody>
      </p:sp>
      <p:sp>
        <p:nvSpPr>
          <p:cNvPr id="24" name="Заголовок">
            <a:extLst>
              <a:ext uri="{FF2B5EF4-FFF2-40B4-BE49-F238E27FC236}">
                <a16:creationId xmlns:a16="http://schemas.microsoft.com/office/drawing/2014/main" xmlns="" id="{2326D927-C1AA-4F8C-8648-C4A1FCD0ED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464" y="582336"/>
            <a:ext cx="100174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30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56217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татист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6464" y="582336"/>
            <a:ext cx="9797143" cy="667657"/>
          </a:xfrm>
        </p:spPr>
        <p:txBody>
          <a:bodyPr anchor="t">
            <a:noAutofit/>
          </a:bodyPr>
          <a:lstStyle>
            <a:lvl1pPr algn="l">
              <a:defRPr sz="370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xmlns="" id="{7DE4D51D-7BD3-40A2-8E2B-65647D32F8D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431485" y="5116514"/>
            <a:ext cx="2467518" cy="1152775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34" name="Текст 3">
            <a:extLst>
              <a:ext uri="{FF2B5EF4-FFF2-40B4-BE49-F238E27FC236}">
                <a16:creationId xmlns:a16="http://schemas.microsoft.com/office/drawing/2014/main" xmlns="" id="{E5B5061D-6FAB-4111-92BD-C9F126578D5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31486" y="4758590"/>
            <a:ext cx="2467517" cy="289282"/>
          </a:xfrm>
        </p:spPr>
        <p:txBody>
          <a:bodyPr>
            <a:noAutofit/>
          </a:bodyPr>
          <a:lstStyle>
            <a:lvl1pPr algn="ctr"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8" name="Текст 4">
            <a:extLst>
              <a:ext uri="{FF2B5EF4-FFF2-40B4-BE49-F238E27FC236}">
                <a16:creationId xmlns:a16="http://schemas.microsoft.com/office/drawing/2014/main" xmlns="" id="{1C56D9CC-B54E-44D2-9B6A-D5C6F20F6B5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66464" y="1281648"/>
            <a:ext cx="9797143" cy="66765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22" name="Текст 5">
            <a:extLst>
              <a:ext uri="{FF2B5EF4-FFF2-40B4-BE49-F238E27FC236}">
                <a16:creationId xmlns:a16="http://schemas.microsoft.com/office/drawing/2014/main" xmlns="" id="{3FCD2E7B-548B-45E3-920C-0E6B565B6CF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857455" y="5121025"/>
            <a:ext cx="2467518" cy="1152775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xmlns="" id="{9EB12DD0-57B3-4774-8BB9-5E9E97FCF1D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857456" y="4763101"/>
            <a:ext cx="2467517" cy="289282"/>
          </a:xfrm>
        </p:spPr>
        <p:txBody>
          <a:bodyPr>
            <a:noAutofit/>
          </a:bodyPr>
          <a:lstStyle>
            <a:lvl1pPr algn="ctr"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24" name="Текст 7">
            <a:extLst>
              <a:ext uri="{FF2B5EF4-FFF2-40B4-BE49-F238E27FC236}">
                <a16:creationId xmlns:a16="http://schemas.microsoft.com/office/drawing/2014/main" xmlns="" id="{9EC7F3B9-D4EE-40C1-B17A-31BF93BC371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283416" y="5116921"/>
            <a:ext cx="2467518" cy="1152775"/>
          </a:xfrm>
        </p:spPr>
        <p:txBody>
          <a:bodyPr>
            <a:noAutofit/>
          </a:bodyPr>
          <a:lstStyle>
            <a:lvl1pPr algn="ctr">
              <a:lnSpc>
                <a:spcPts val="1900"/>
              </a:lnSpc>
              <a:defRPr sz="140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28" name="Текст 8">
            <a:extLst>
              <a:ext uri="{FF2B5EF4-FFF2-40B4-BE49-F238E27FC236}">
                <a16:creationId xmlns:a16="http://schemas.microsoft.com/office/drawing/2014/main" xmlns="" id="{FEFC35BB-5055-4CE3-AADC-D7E8AAFCA69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283417" y="4758590"/>
            <a:ext cx="2467517" cy="289282"/>
          </a:xfrm>
        </p:spPr>
        <p:txBody>
          <a:bodyPr>
            <a:noAutofit/>
          </a:bodyPr>
          <a:lstStyle>
            <a:lvl1pPr algn="ctr">
              <a:defRPr sz="1700" b="1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6" name="Текст 9">
            <a:extLst>
              <a:ext uri="{FF2B5EF4-FFF2-40B4-BE49-F238E27FC236}">
                <a16:creationId xmlns:a16="http://schemas.microsoft.com/office/drawing/2014/main" xmlns="" id="{9CB997D8-C87E-4D0F-8D6D-E042C866531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117125" y="3213074"/>
            <a:ext cx="800099" cy="419100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32" name="Текст 10">
            <a:extLst>
              <a:ext uri="{FF2B5EF4-FFF2-40B4-BE49-F238E27FC236}">
                <a16:creationId xmlns:a16="http://schemas.microsoft.com/office/drawing/2014/main" xmlns="" id="{F31B73F3-3172-4BA3-8AB9-A97C16859D9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621612" y="3213074"/>
            <a:ext cx="800099" cy="419100"/>
          </a:xfrm>
        </p:spPr>
        <p:txBody>
          <a:bodyPr>
            <a:noAutofit/>
          </a:bodyPr>
          <a:lstStyle>
            <a:lvl1pPr>
              <a:defRPr sz="2300" b="1">
                <a:solidFill>
                  <a:srgbClr val="FAFDFD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33" name="Текст 11">
            <a:extLst>
              <a:ext uri="{FF2B5EF4-FFF2-40B4-BE49-F238E27FC236}">
                <a16:creationId xmlns:a16="http://schemas.microsoft.com/office/drawing/2014/main" xmlns="" id="{0AD2EACE-F1A3-4E14-AF94-DA38C291C23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265195" y="3213074"/>
            <a:ext cx="800099" cy="419100"/>
          </a:xfrm>
        </p:spPr>
        <p:txBody>
          <a:bodyPr>
            <a:noAutofit/>
          </a:bodyPr>
          <a:lstStyle>
            <a:lvl1pPr>
              <a:defRPr sz="2300" b="1">
                <a:solidFill>
                  <a:srgbClr val="FAFDFD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%</a:t>
            </a:r>
          </a:p>
        </p:txBody>
      </p:sp>
      <p:sp>
        <p:nvSpPr>
          <p:cNvPr id="14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71786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7242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Миссия компан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866481" y="601135"/>
            <a:ext cx="5095838" cy="6696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xmlns="" id="{66A3FE2D-DABA-4D1A-824C-C6EE96C1BB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8089" y="1725105"/>
            <a:ext cx="4425949" cy="3022165"/>
          </a:xfrm>
        </p:spPr>
        <p:txBody>
          <a:bodyPr>
            <a:noAutofit/>
          </a:bodyPr>
          <a:lstStyle>
            <a:lvl1pPr>
              <a:lnSpc>
                <a:spcPts val="2600"/>
              </a:lnSpc>
              <a:defRPr sz="2000" baseline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4" name="Картинка 1"/>
          <p:cNvSpPr>
            <a:spLocks noGrp="1"/>
          </p:cNvSpPr>
          <p:nvPr>
            <p:ph type="pic" sz="quarter" idx="23" hasCustomPrompt="1"/>
          </p:nvPr>
        </p:nvSpPr>
        <p:spPr>
          <a:xfrm>
            <a:off x="6108704" y="620437"/>
            <a:ext cx="6083296" cy="6237115"/>
          </a:xfrm>
          <a:custGeom>
            <a:avLst/>
            <a:gdLst>
              <a:gd name="connsiteX0" fmla="*/ 0 w 8459102"/>
              <a:gd name="connsiteY0" fmla="*/ 4345154 h 8690307"/>
              <a:gd name="connsiteX1" fmla="*/ 4229551 w 8459102"/>
              <a:gd name="connsiteY1" fmla="*/ 0 h 8690307"/>
              <a:gd name="connsiteX2" fmla="*/ 8459102 w 8459102"/>
              <a:gd name="connsiteY2" fmla="*/ 4345154 h 8690307"/>
              <a:gd name="connsiteX3" fmla="*/ 4229551 w 8459102"/>
              <a:gd name="connsiteY3" fmla="*/ 8690307 h 8690307"/>
              <a:gd name="connsiteX4" fmla="*/ 0 w 8459102"/>
              <a:gd name="connsiteY4" fmla="*/ 4345154 h 8690307"/>
              <a:gd name="connsiteX0" fmla="*/ 0 w 8478152"/>
              <a:gd name="connsiteY0" fmla="*/ 4326104 h 8690307"/>
              <a:gd name="connsiteX1" fmla="*/ 4248601 w 8478152"/>
              <a:gd name="connsiteY1" fmla="*/ 0 h 8690307"/>
              <a:gd name="connsiteX2" fmla="*/ 8478152 w 8478152"/>
              <a:gd name="connsiteY2" fmla="*/ 4345154 h 8690307"/>
              <a:gd name="connsiteX3" fmla="*/ 4248601 w 8478152"/>
              <a:gd name="connsiteY3" fmla="*/ 8690307 h 8690307"/>
              <a:gd name="connsiteX4" fmla="*/ 0 w 8478152"/>
              <a:gd name="connsiteY4" fmla="*/ 4326104 h 8690307"/>
              <a:gd name="connsiteX0" fmla="*/ 0 w 8478152"/>
              <a:gd name="connsiteY0" fmla="*/ 4316579 h 8680782"/>
              <a:gd name="connsiteX1" fmla="*/ 4277176 w 8478152"/>
              <a:gd name="connsiteY1" fmla="*/ 0 h 8680782"/>
              <a:gd name="connsiteX2" fmla="*/ 8478152 w 8478152"/>
              <a:gd name="connsiteY2" fmla="*/ 4335629 h 8680782"/>
              <a:gd name="connsiteX3" fmla="*/ 4248601 w 8478152"/>
              <a:gd name="connsiteY3" fmla="*/ 8680782 h 8680782"/>
              <a:gd name="connsiteX4" fmla="*/ 0 w 8478152"/>
              <a:gd name="connsiteY4" fmla="*/ 4316579 h 8680782"/>
              <a:gd name="connsiteX0" fmla="*/ 0 w 8478152"/>
              <a:gd name="connsiteY0" fmla="*/ 4288004 h 8652207"/>
              <a:gd name="connsiteX1" fmla="*/ 4286701 w 8478152"/>
              <a:gd name="connsiteY1" fmla="*/ 0 h 8652207"/>
              <a:gd name="connsiteX2" fmla="*/ 8478152 w 8478152"/>
              <a:gd name="connsiteY2" fmla="*/ 4307054 h 8652207"/>
              <a:gd name="connsiteX3" fmla="*/ 4248601 w 8478152"/>
              <a:gd name="connsiteY3" fmla="*/ 8652207 h 8652207"/>
              <a:gd name="connsiteX4" fmla="*/ 0 w 8478152"/>
              <a:gd name="connsiteY4" fmla="*/ 4288004 h 8652207"/>
              <a:gd name="connsiteX0" fmla="*/ 4248601 w 8478152"/>
              <a:gd name="connsiteY0" fmla="*/ 8652207 h 8743647"/>
              <a:gd name="connsiteX1" fmla="*/ 0 w 8478152"/>
              <a:gd name="connsiteY1" fmla="*/ 4288004 h 8743647"/>
              <a:gd name="connsiteX2" fmla="*/ 4286701 w 8478152"/>
              <a:gd name="connsiteY2" fmla="*/ 0 h 8743647"/>
              <a:gd name="connsiteX3" fmla="*/ 8478152 w 8478152"/>
              <a:gd name="connsiteY3" fmla="*/ 4307054 h 8743647"/>
              <a:gd name="connsiteX4" fmla="*/ 4340041 w 8478152"/>
              <a:gd name="connsiteY4" fmla="*/ 8743647 h 8743647"/>
              <a:gd name="connsiteX0" fmla="*/ 1946465 w 8478152"/>
              <a:gd name="connsiteY0" fmla="*/ 6231737 h 8743647"/>
              <a:gd name="connsiteX1" fmla="*/ 0 w 8478152"/>
              <a:gd name="connsiteY1" fmla="*/ 4288004 h 8743647"/>
              <a:gd name="connsiteX2" fmla="*/ 4286701 w 8478152"/>
              <a:gd name="connsiteY2" fmla="*/ 0 h 8743647"/>
              <a:gd name="connsiteX3" fmla="*/ 8478152 w 8478152"/>
              <a:gd name="connsiteY3" fmla="*/ 4307054 h 8743647"/>
              <a:gd name="connsiteX4" fmla="*/ 4340041 w 8478152"/>
              <a:gd name="connsiteY4" fmla="*/ 8743647 h 8743647"/>
              <a:gd name="connsiteX0" fmla="*/ 1946465 w 8478152"/>
              <a:gd name="connsiteY0" fmla="*/ 6231737 h 8743647"/>
              <a:gd name="connsiteX1" fmla="*/ 0 w 8478152"/>
              <a:gd name="connsiteY1" fmla="*/ 4288004 h 8743647"/>
              <a:gd name="connsiteX2" fmla="*/ 4286701 w 8478152"/>
              <a:gd name="connsiteY2" fmla="*/ 0 h 8743647"/>
              <a:gd name="connsiteX3" fmla="*/ 8478152 w 8478152"/>
              <a:gd name="connsiteY3" fmla="*/ 4317812 h 8743647"/>
              <a:gd name="connsiteX4" fmla="*/ 4340041 w 8478152"/>
              <a:gd name="connsiteY4" fmla="*/ 8743647 h 8743647"/>
              <a:gd name="connsiteX0" fmla="*/ 1946465 w 8478152"/>
              <a:gd name="connsiteY0" fmla="*/ 6231737 h 6237115"/>
              <a:gd name="connsiteX1" fmla="*/ 0 w 8478152"/>
              <a:gd name="connsiteY1" fmla="*/ 4288004 h 6237115"/>
              <a:gd name="connsiteX2" fmla="*/ 4286701 w 8478152"/>
              <a:gd name="connsiteY2" fmla="*/ 0 h 6237115"/>
              <a:gd name="connsiteX3" fmla="*/ 8478152 w 8478152"/>
              <a:gd name="connsiteY3" fmla="*/ 4317812 h 6237115"/>
              <a:gd name="connsiteX4" fmla="*/ 6082779 w 8478152"/>
              <a:gd name="connsiteY4" fmla="*/ 6237115 h 6237115"/>
              <a:gd name="connsiteX0" fmla="*/ 1946465 w 6746171"/>
              <a:gd name="connsiteY0" fmla="*/ 6231737 h 6237115"/>
              <a:gd name="connsiteX1" fmla="*/ 0 w 6746171"/>
              <a:gd name="connsiteY1" fmla="*/ 4288004 h 6237115"/>
              <a:gd name="connsiteX2" fmla="*/ 4286701 w 6746171"/>
              <a:gd name="connsiteY2" fmla="*/ 0 h 6237115"/>
              <a:gd name="connsiteX3" fmla="*/ 6746171 w 6746171"/>
              <a:gd name="connsiteY3" fmla="*/ 2435224 h 6237115"/>
              <a:gd name="connsiteX4" fmla="*/ 6082779 w 6746171"/>
              <a:gd name="connsiteY4" fmla="*/ 6237115 h 6237115"/>
              <a:gd name="connsiteX0" fmla="*/ 1946465 w 6746171"/>
              <a:gd name="connsiteY0" fmla="*/ 6231737 h 6237115"/>
              <a:gd name="connsiteX1" fmla="*/ 0 w 6746171"/>
              <a:gd name="connsiteY1" fmla="*/ 4288004 h 6237115"/>
              <a:gd name="connsiteX2" fmla="*/ 4286701 w 6746171"/>
              <a:gd name="connsiteY2" fmla="*/ 0 h 6237115"/>
              <a:gd name="connsiteX3" fmla="*/ 6746171 w 6746171"/>
              <a:gd name="connsiteY3" fmla="*/ 2435224 h 6237115"/>
              <a:gd name="connsiteX4" fmla="*/ 6082779 w 6746171"/>
              <a:gd name="connsiteY4" fmla="*/ 6237115 h 6237115"/>
              <a:gd name="connsiteX0" fmla="*/ 1946465 w 6089954"/>
              <a:gd name="connsiteY0" fmla="*/ 6231737 h 6237115"/>
              <a:gd name="connsiteX1" fmla="*/ 0 w 6089954"/>
              <a:gd name="connsiteY1" fmla="*/ 4288004 h 6237115"/>
              <a:gd name="connsiteX2" fmla="*/ 4286701 w 6089954"/>
              <a:gd name="connsiteY2" fmla="*/ 0 h 6237115"/>
              <a:gd name="connsiteX3" fmla="*/ 6089954 w 6089954"/>
              <a:gd name="connsiteY3" fmla="*/ 1789766 h 6237115"/>
              <a:gd name="connsiteX4" fmla="*/ 6082779 w 6089954"/>
              <a:gd name="connsiteY4" fmla="*/ 6237115 h 6237115"/>
              <a:gd name="connsiteX0" fmla="*/ 1946465 w 6097696"/>
              <a:gd name="connsiteY0" fmla="*/ 6231737 h 6237115"/>
              <a:gd name="connsiteX1" fmla="*/ 0 w 6097696"/>
              <a:gd name="connsiteY1" fmla="*/ 4288004 h 6237115"/>
              <a:gd name="connsiteX2" fmla="*/ 4286701 w 6097696"/>
              <a:gd name="connsiteY2" fmla="*/ 0 h 6237115"/>
              <a:gd name="connsiteX3" fmla="*/ 6089954 w 6097696"/>
              <a:gd name="connsiteY3" fmla="*/ 1789766 h 6237115"/>
              <a:gd name="connsiteX4" fmla="*/ 6082779 w 6097696"/>
              <a:gd name="connsiteY4" fmla="*/ 6237115 h 6237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7696" h="6237115">
                <a:moveTo>
                  <a:pt x="1946465" y="6231737"/>
                </a:moveTo>
                <a:lnTo>
                  <a:pt x="0" y="4288004"/>
                </a:lnTo>
                <a:lnTo>
                  <a:pt x="4286701" y="0"/>
                </a:lnTo>
                <a:lnTo>
                  <a:pt x="6089954" y="1789766"/>
                </a:lnTo>
                <a:cubicBezTo>
                  <a:pt x="6110872" y="1796626"/>
                  <a:pt x="6082779" y="6237115"/>
                  <a:pt x="6082779" y="6237115"/>
                </a:cubicBezTo>
              </a:path>
            </a:pathLst>
          </a:cu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1508089" y="5329920"/>
            <a:ext cx="2517156" cy="698500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600" b="0" i="1" baseline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56498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1">
            <a:extLst>
              <a:ext uri="{FF2B5EF4-FFF2-40B4-BE49-F238E27FC236}">
                <a16:creationId xmlns:a16="http://schemas.microsoft.com/office/drawing/2014/main" xmlns="" id="{66A3FE2D-DABA-4D1A-824C-C6EE96C1BB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09119" y="1751658"/>
            <a:ext cx="4892863" cy="2982712"/>
          </a:xfrm>
        </p:spPr>
        <p:txBody>
          <a:bodyPr>
            <a:noAutofit/>
          </a:bodyPr>
          <a:lstStyle>
            <a:lvl1pPr>
              <a:lnSpc>
                <a:spcPts val="2600"/>
              </a:lnSpc>
              <a:defRPr sz="20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6" name="Картинка 1">
            <a:extLst>
              <a:ext uri="{FF2B5EF4-FFF2-40B4-BE49-F238E27FC236}">
                <a16:creationId xmlns:a16="http://schemas.microsoft.com/office/drawing/2014/main" xmlns="" id="{34F528BC-F055-480E-99FE-CA9C15EDEFF4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968863" y="1830293"/>
            <a:ext cx="3924000" cy="3924000"/>
          </a:xfrm>
          <a:prstGeom prst="diamond">
            <a:avLst/>
          </a:prstGeom>
        </p:spPr>
        <p:txBody>
          <a:bodyPr>
            <a:noAutofit/>
          </a:bodyPr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  <p:sp>
        <p:nvSpPr>
          <p:cNvPr id="11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866481" y="601135"/>
            <a:ext cx="5095838" cy="6696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24" hasCustomPrompt="1"/>
          </p:nvPr>
        </p:nvSpPr>
        <p:spPr>
          <a:xfrm>
            <a:off x="6109118" y="4962366"/>
            <a:ext cx="2494609" cy="698500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600" b="0" i="1" baseline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89705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езюме кур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3764" y="595036"/>
            <a:ext cx="9877736" cy="667657"/>
          </a:xfrm>
        </p:spPr>
        <p:txBody>
          <a:bodyPr anchor="t">
            <a:noAutofit/>
          </a:bodyPr>
          <a:lstStyle>
            <a:lvl1pPr>
              <a:defRPr sz="37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47" name="Текст 2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640929" y="1727996"/>
            <a:ext cx="3478951" cy="5724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AF641F69-09FE-41FB-BE59-E426C95A275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78840" y="1727995"/>
            <a:ext cx="711628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600" b="0">
                <a:solidFill>
                  <a:srgbClr val="A8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№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xmlns="" id="{5935F51D-0ECE-48A8-AFAB-9F2612CFA6E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1640929" y="2975529"/>
            <a:ext cx="3478951" cy="5724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1" name="Текст 5">
            <a:extLst>
              <a:ext uri="{FF2B5EF4-FFF2-40B4-BE49-F238E27FC236}">
                <a16:creationId xmlns:a16="http://schemas.microsoft.com/office/drawing/2014/main" xmlns="" id="{99C55612-8C00-4146-9603-3A9744717356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76467" y="2979953"/>
            <a:ext cx="711628" cy="5715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600" b="0">
                <a:solidFill>
                  <a:srgbClr val="A8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3" name="Текст 6">
            <a:extLst>
              <a:ext uri="{FF2B5EF4-FFF2-40B4-BE49-F238E27FC236}">
                <a16:creationId xmlns:a16="http://schemas.microsoft.com/office/drawing/2014/main" xmlns="" id="{E4A7082F-999C-44C0-9DBC-3ECD8A054542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640929" y="4223062"/>
            <a:ext cx="3478951" cy="5724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xmlns="" id="{02413A86-1E00-417F-BC11-3A25D7E012B3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81213" y="4231911"/>
            <a:ext cx="711628" cy="55441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600" b="0">
                <a:solidFill>
                  <a:srgbClr val="A8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xmlns="" id="{A19375CB-2CED-4D64-80FC-6825B47CEA8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640929" y="5470595"/>
            <a:ext cx="3478951" cy="5724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16" name="Текст 9">
            <a:extLst>
              <a:ext uri="{FF2B5EF4-FFF2-40B4-BE49-F238E27FC236}">
                <a16:creationId xmlns:a16="http://schemas.microsoft.com/office/drawing/2014/main" xmlns="" id="{CA1F6A97-6811-4942-83FF-38C7F4389535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83587" y="5466781"/>
            <a:ext cx="711628" cy="554411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600" b="0">
                <a:solidFill>
                  <a:srgbClr val="A8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xmlns="" id="{08904335-1270-4429-862C-70A9983BE9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963374" y="365148"/>
            <a:ext cx="573632" cy="295275"/>
          </a:xfrm>
        </p:spPr>
        <p:txBody>
          <a:bodyPr>
            <a:noAutofit/>
          </a:bodyPr>
          <a:lstStyle>
            <a:lvl1pPr algn="ctr">
              <a:defRPr sz="2100" b="0">
                <a:solidFill>
                  <a:srgbClr val="A7DCDE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33761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61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здравляе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797" y="1304817"/>
            <a:ext cx="6775679" cy="1057145"/>
          </a:xfrm>
        </p:spPr>
        <p:txBody>
          <a:bodyPr anchor="t">
            <a:noAutofit/>
          </a:bodyPr>
          <a:lstStyle>
            <a:lvl1pPr>
              <a:defRPr sz="55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60797" y="2361963"/>
            <a:ext cx="5235203" cy="1246963"/>
          </a:xfrm>
        </p:spPr>
        <p:txBody>
          <a:bodyPr>
            <a:noAutofit/>
          </a:bodyPr>
          <a:lstStyle>
            <a:lvl1pPr>
              <a:lnSpc>
                <a:spcPts val="2600"/>
              </a:lnSpc>
              <a:defRPr sz="20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966898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здравляе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">
            <a:extLst>
              <a:ext uri="{FF2B5EF4-FFF2-40B4-BE49-F238E27FC236}">
                <a16:creationId xmlns:a16="http://schemas.microsoft.com/office/drawing/2014/main" xmlns="" id="{43AB56C1-0678-4D4D-A0C1-BF6FB90608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0798" y="1304818"/>
            <a:ext cx="6792154" cy="1037690"/>
          </a:xfrm>
        </p:spPr>
        <p:txBody>
          <a:bodyPr anchor="t">
            <a:noAutofit/>
          </a:bodyPr>
          <a:lstStyle>
            <a:lvl1pPr>
              <a:defRPr sz="5500"/>
            </a:lvl1pPr>
          </a:lstStyle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xmlns="" id="{11C344F9-080A-4340-BE96-990C4E007F82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60797" y="2342508"/>
            <a:ext cx="5235203" cy="1246963"/>
          </a:xfrm>
        </p:spPr>
        <p:txBody>
          <a:bodyPr>
            <a:noAutofit/>
          </a:bodyPr>
          <a:lstStyle>
            <a:lvl1pPr>
              <a:lnSpc>
                <a:spcPts val="2600"/>
              </a:lnSpc>
              <a:defRPr sz="2000" b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ru-RU">
                <a:effectLst/>
              </a:rPr>
              <a:t>Введите текст</a:t>
            </a:r>
            <a:endParaRPr lang="ru-RU" dirty="0"/>
          </a:p>
        </p:txBody>
      </p:sp>
      <p:sp>
        <p:nvSpPr>
          <p:cNvPr id="8" name="Картинка 1">
            <a:extLst>
              <a:ext uri="{FF2B5EF4-FFF2-40B4-BE49-F238E27FC236}">
                <a16:creationId xmlns:a16="http://schemas.microsoft.com/office/drawing/2014/main" xmlns="" id="{46C829E6-56BF-4ECA-B62F-203FE84C4B4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64455" y="714375"/>
            <a:ext cx="5327546" cy="6143625"/>
          </a:xfrm>
          <a:custGeom>
            <a:avLst/>
            <a:gdLst>
              <a:gd name="connsiteX0" fmla="*/ 0 w 6996364"/>
              <a:gd name="connsiteY0" fmla="*/ 3546692 h 7093384"/>
              <a:gd name="connsiteX1" fmla="*/ 3498182 w 6996364"/>
              <a:gd name="connsiteY1" fmla="*/ 0 h 7093384"/>
              <a:gd name="connsiteX2" fmla="*/ 6996364 w 6996364"/>
              <a:gd name="connsiteY2" fmla="*/ 3546692 h 7093384"/>
              <a:gd name="connsiteX3" fmla="*/ 3498182 w 6996364"/>
              <a:gd name="connsiteY3" fmla="*/ 7093384 h 7093384"/>
              <a:gd name="connsiteX4" fmla="*/ 0 w 6996364"/>
              <a:gd name="connsiteY4" fmla="*/ 3546692 h 7093384"/>
              <a:gd name="connsiteX0" fmla="*/ 3498182 w 6996364"/>
              <a:gd name="connsiteY0" fmla="*/ 7093384 h 7184824"/>
              <a:gd name="connsiteX1" fmla="*/ 0 w 6996364"/>
              <a:gd name="connsiteY1" fmla="*/ 3546692 h 7184824"/>
              <a:gd name="connsiteX2" fmla="*/ 3498182 w 6996364"/>
              <a:gd name="connsiteY2" fmla="*/ 0 h 7184824"/>
              <a:gd name="connsiteX3" fmla="*/ 6996364 w 6996364"/>
              <a:gd name="connsiteY3" fmla="*/ 3546692 h 7184824"/>
              <a:gd name="connsiteX4" fmla="*/ 3589622 w 6996364"/>
              <a:gd name="connsiteY4" fmla="*/ 7184824 h 7184824"/>
              <a:gd name="connsiteX0" fmla="*/ 2612810 w 6996364"/>
              <a:gd name="connsiteY0" fmla="*/ 6178984 h 7184824"/>
              <a:gd name="connsiteX1" fmla="*/ 0 w 6996364"/>
              <a:gd name="connsiteY1" fmla="*/ 3546692 h 7184824"/>
              <a:gd name="connsiteX2" fmla="*/ 3498182 w 6996364"/>
              <a:gd name="connsiteY2" fmla="*/ 0 h 7184824"/>
              <a:gd name="connsiteX3" fmla="*/ 6996364 w 6996364"/>
              <a:gd name="connsiteY3" fmla="*/ 3546692 h 7184824"/>
              <a:gd name="connsiteX4" fmla="*/ 3589622 w 6996364"/>
              <a:gd name="connsiteY4" fmla="*/ 7184824 h 7184824"/>
              <a:gd name="connsiteX0" fmla="*/ 2612810 w 6996364"/>
              <a:gd name="connsiteY0" fmla="*/ 6178984 h 6197853"/>
              <a:gd name="connsiteX1" fmla="*/ 0 w 6996364"/>
              <a:gd name="connsiteY1" fmla="*/ 3546692 h 6197853"/>
              <a:gd name="connsiteX2" fmla="*/ 3498182 w 6996364"/>
              <a:gd name="connsiteY2" fmla="*/ 0 h 6197853"/>
              <a:gd name="connsiteX3" fmla="*/ 6996364 w 6996364"/>
              <a:gd name="connsiteY3" fmla="*/ 3546692 h 6197853"/>
              <a:gd name="connsiteX4" fmla="*/ 4387908 w 6996364"/>
              <a:gd name="connsiteY4" fmla="*/ 6197853 h 6197853"/>
              <a:gd name="connsiteX0" fmla="*/ 2612810 w 6996364"/>
              <a:gd name="connsiteY0" fmla="*/ 6178984 h 6197853"/>
              <a:gd name="connsiteX1" fmla="*/ 0 w 6996364"/>
              <a:gd name="connsiteY1" fmla="*/ 3546692 h 6197853"/>
              <a:gd name="connsiteX2" fmla="*/ 3498182 w 6996364"/>
              <a:gd name="connsiteY2" fmla="*/ 0 h 6197853"/>
              <a:gd name="connsiteX3" fmla="*/ 6996364 w 6996364"/>
              <a:gd name="connsiteY3" fmla="*/ 3546692 h 6197853"/>
              <a:gd name="connsiteX4" fmla="*/ 4387908 w 6996364"/>
              <a:gd name="connsiteY4" fmla="*/ 6197853 h 6197853"/>
              <a:gd name="connsiteX5" fmla="*/ 2612810 w 6996364"/>
              <a:gd name="connsiteY5" fmla="*/ 6178984 h 6197853"/>
              <a:gd name="connsiteX0" fmla="*/ 6996364 w 7087804"/>
              <a:gd name="connsiteY0" fmla="*/ 3546692 h 6197853"/>
              <a:gd name="connsiteX1" fmla="*/ 4387908 w 7087804"/>
              <a:gd name="connsiteY1" fmla="*/ 6197853 h 6197853"/>
              <a:gd name="connsiteX2" fmla="*/ 2612810 w 7087804"/>
              <a:gd name="connsiteY2" fmla="*/ 6178984 h 6197853"/>
              <a:gd name="connsiteX3" fmla="*/ 0 w 7087804"/>
              <a:gd name="connsiteY3" fmla="*/ 3546692 h 6197853"/>
              <a:gd name="connsiteX4" fmla="*/ 3498182 w 7087804"/>
              <a:gd name="connsiteY4" fmla="*/ 0 h 6197853"/>
              <a:gd name="connsiteX5" fmla="*/ 7087804 w 7087804"/>
              <a:gd name="connsiteY5" fmla="*/ 3638132 h 6197853"/>
              <a:gd name="connsiteX0" fmla="*/ 6996364 w 6996364"/>
              <a:gd name="connsiteY0" fmla="*/ 3546692 h 6197853"/>
              <a:gd name="connsiteX1" fmla="*/ 4387908 w 6996364"/>
              <a:gd name="connsiteY1" fmla="*/ 6197853 h 6197853"/>
              <a:gd name="connsiteX2" fmla="*/ 2612810 w 6996364"/>
              <a:gd name="connsiteY2" fmla="*/ 6178984 h 6197853"/>
              <a:gd name="connsiteX3" fmla="*/ 0 w 6996364"/>
              <a:gd name="connsiteY3" fmla="*/ 3546692 h 6197853"/>
              <a:gd name="connsiteX4" fmla="*/ 3498182 w 6996364"/>
              <a:gd name="connsiteY4" fmla="*/ 0 h 6197853"/>
              <a:gd name="connsiteX5" fmla="*/ 5317061 w 6996364"/>
              <a:gd name="connsiteY5" fmla="*/ 1852875 h 6197853"/>
              <a:gd name="connsiteX0" fmla="*/ 5283679 w 5317061"/>
              <a:gd name="connsiteY0" fmla="*/ 5273892 h 6197853"/>
              <a:gd name="connsiteX1" fmla="*/ 4387908 w 5317061"/>
              <a:gd name="connsiteY1" fmla="*/ 6197853 h 6197853"/>
              <a:gd name="connsiteX2" fmla="*/ 2612810 w 5317061"/>
              <a:gd name="connsiteY2" fmla="*/ 6178984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12810 w 5317061"/>
              <a:gd name="connsiteY2" fmla="*/ 6178984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12810 w 5317061"/>
              <a:gd name="connsiteY2" fmla="*/ 6187601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21356 w 5317061"/>
              <a:gd name="connsiteY2" fmla="*/ 6196218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283679 w 5317061"/>
              <a:gd name="connsiteY0" fmla="*/ 5273892 h 6197853"/>
              <a:gd name="connsiteX1" fmla="*/ 4379362 w 5317061"/>
              <a:gd name="connsiteY1" fmla="*/ 6197853 h 6197853"/>
              <a:gd name="connsiteX2" fmla="*/ 2621356 w 5317061"/>
              <a:gd name="connsiteY2" fmla="*/ 6196218 h 6197853"/>
              <a:gd name="connsiteX3" fmla="*/ 0 w 5317061"/>
              <a:gd name="connsiteY3" fmla="*/ 3546692 h 6197853"/>
              <a:gd name="connsiteX4" fmla="*/ 3498182 w 5317061"/>
              <a:gd name="connsiteY4" fmla="*/ 0 h 6197853"/>
              <a:gd name="connsiteX5" fmla="*/ 5317061 w 5317061"/>
              <a:gd name="connsiteY5" fmla="*/ 1852875 h 6197853"/>
              <a:gd name="connsiteX0" fmla="*/ 5317863 w 5317863"/>
              <a:gd name="connsiteY0" fmla="*/ 5248042 h 6197853"/>
              <a:gd name="connsiteX1" fmla="*/ 4379362 w 5317863"/>
              <a:gd name="connsiteY1" fmla="*/ 6197853 h 6197853"/>
              <a:gd name="connsiteX2" fmla="*/ 2621356 w 5317863"/>
              <a:gd name="connsiteY2" fmla="*/ 6196218 h 6197853"/>
              <a:gd name="connsiteX3" fmla="*/ 0 w 5317863"/>
              <a:gd name="connsiteY3" fmla="*/ 3546692 h 6197853"/>
              <a:gd name="connsiteX4" fmla="*/ 3498182 w 5317863"/>
              <a:gd name="connsiteY4" fmla="*/ 0 h 6197853"/>
              <a:gd name="connsiteX5" fmla="*/ 5317061 w 5317863"/>
              <a:gd name="connsiteY5" fmla="*/ 1852875 h 6197853"/>
              <a:gd name="connsiteX0" fmla="*/ 5317863 w 5317863"/>
              <a:gd name="connsiteY0" fmla="*/ 5248042 h 6197853"/>
              <a:gd name="connsiteX1" fmla="*/ 4379362 w 5317863"/>
              <a:gd name="connsiteY1" fmla="*/ 6197853 h 6197853"/>
              <a:gd name="connsiteX2" fmla="*/ 2621356 w 5317863"/>
              <a:gd name="connsiteY2" fmla="*/ 6196218 h 6197853"/>
              <a:gd name="connsiteX3" fmla="*/ 0 w 5317863"/>
              <a:gd name="connsiteY3" fmla="*/ 3546692 h 6197853"/>
              <a:gd name="connsiteX4" fmla="*/ 3498182 w 5317863"/>
              <a:gd name="connsiteY4" fmla="*/ 0 h 6197853"/>
              <a:gd name="connsiteX5" fmla="*/ 5317061 w 5317863"/>
              <a:gd name="connsiteY5" fmla="*/ 1852875 h 6197853"/>
              <a:gd name="connsiteX0" fmla="*/ 5317863 w 5317863"/>
              <a:gd name="connsiteY0" fmla="*/ 5248042 h 6196218"/>
              <a:gd name="connsiteX1" fmla="*/ 4384124 w 5317863"/>
              <a:gd name="connsiteY1" fmla="*/ 6195451 h 6196218"/>
              <a:gd name="connsiteX2" fmla="*/ 2621356 w 5317863"/>
              <a:gd name="connsiteY2" fmla="*/ 6196218 h 6196218"/>
              <a:gd name="connsiteX3" fmla="*/ 0 w 5317863"/>
              <a:gd name="connsiteY3" fmla="*/ 3546692 h 6196218"/>
              <a:gd name="connsiteX4" fmla="*/ 3498182 w 5317863"/>
              <a:gd name="connsiteY4" fmla="*/ 0 h 6196218"/>
              <a:gd name="connsiteX5" fmla="*/ 5317061 w 5317863"/>
              <a:gd name="connsiteY5" fmla="*/ 1852875 h 6196218"/>
              <a:gd name="connsiteX0" fmla="*/ 5317863 w 5317863"/>
              <a:gd name="connsiteY0" fmla="*/ 5248042 h 6196218"/>
              <a:gd name="connsiteX1" fmla="*/ 4384124 w 5317863"/>
              <a:gd name="connsiteY1" fmla="*/ 6195451 h 6196218"/>
              <a:gd name="connsiteX2" fmla="*/ 2618975 w 5317863"/>
              <a:gd name="connsiteY2" fmla="*/ 6196218 h 6196218"/>
              <a:gd name="connsiteX3" fmla="*/ 0 w 5317863"/>
              <a:gd name="connsiteY3" fmla="*/ 3546692 h 6196218"/>
              <a:gd name="connsiteX4" fmla="*/ 3498182 w 5317863"/>
              <a:gd name="connsiteY4" fmla="*/ 0 h 6196218"/>
              <a:gd name="connsiteX5" fmla="*/ 5317061 w 5317863"/>
              <a:gd name="connsiteY5" fmla="*/ 1852875 h 6196218"/>
              <a:gd name="connsiteX0" fmla="*/ 5317863 w 5317863"/>
              <a:gd name="connsiteY0" fmla="*/ 5248042 h 6195451"/>
              <a:gd name="connsiteX1" fmla="*/ 4384124 w 5317863"/>
              <a:gd name="connsiteY1" fmla="*/ 6195451 h 6195451"/>
              <a:gd name="connsiteX2" fmla="*/ 2621356 w 5317863"/>
              <a:gd name="connsiteY2" fmla="*/ 6193817 h 6195451"/>
              <a:gd name="connsiteX3" fmla="*/ 0 w 5317863"/>
              <a:gd name="connsiteY3" fmla="*/ 3546692 h 6195451"/>
              <a:gd name="connsiteX4" fmla="*/ 3498182 w 5317863"/>
              <a:gd name="connsiteY4" fmla="*/ 0 h 6195451"/>
              <a:gd name="connsiteX5" fmla="*/ 5317061 w 5317863"/>
              <a:gd name="connsiteY5" fmla="*/ 1852875 h 6195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7863" h="6195451">
                <a:moveTo>
                  <a:pt x="5317863" y="5248042"/>
                </a:moveTo>
                <a:cubicBezTo>
                  <a:pt x="5312678" y="5254451"/>
                  <a:pt x="4696958" y="5878847"/>
                  <a:pt x="4384124" y="6195451"/>
                </a:cubicBezTo>
                <a:lnTo>
                  <a:pt x="2621356" y="6193817"/>
                </a:lnTo>
                <a:lnTo>
                  <a:pt x="0" y="3546692"/>
                </a:lnTo>
                <a:lnTo>
                  <a:pt x="3498182" y="0"/>
                </a:lnTo>
                <a:lnTo>
                  <a:pt x="5317061" y="1852875"/>
                </a:lnTo>
              </a:path>
            </a:pathLst>
          </a:custGeom>
        </p:spPr>
        <p:txBody>
          <a:bodyPr/>
          <a:lstStyle/>
          <a:p>
            <a:r>
              <a:rPr lang="ru-RU" dirty="0"/>
              <a:t>Нажмите на иконку чтобы добавить картинку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40449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84CDDC-CDA9-45ED-A128-486817327D06}" type="datetimeFigureOut">
              <a:rPr lang="ru-RU" smtClean="0">
                <a:solidFill>
                  <a:srgbClr val="342A28"/>
                </a:solidFill>
              </a:rPr>
              <a:pPr/>
              <a:t>30.11.2023</a:t>
            </a:fld>
            <a:endParaRPr lang="ru-RU" dirty="0">
              <a:solidFill>
                <a:srgbClr val="342A28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342A28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8A39EE1-FC60-4C34-8B78-6EEE106C8CCD}" type="slidenum">
              <a:rPr lang="ru-RU" smtClean="0">
                <a:solidFill>
                  <a:srgbClr val="342A28"/>
                </a:solidFill>
              </a:rPr>
              <a:pPr/>
              <a:t>‹#›</a:t>
            </a:fld>
            <a:endParaRPr lang="ru-RU" dirty="0">
              <a:solidFill>
                <a:srgbClr val="342A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5862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FEC29CF-3054-FB46-8120-B95F0D8C7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97A2119-66C5-3C47-8411-C6E0A9122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639246F-9A6A-564A-8C9A-AACDF4DF36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52010DD-4443-3049-8D98-12A3C5809EB6}" type="datetimeFigureOut">
              <a:rPr lang="ru-RU" smtClean="0">
                <a:solidFill>
                  <a:srgbClr val="342A28"/>
                </a:solidFill>
              </a:rPr>
              <a:pPr/>
              <a:t>30.11.2023</a:t>
            </a:fld>
            <a:endParaRPr lang="ru-RU" dirty="0">
              <a:solidFill>
                <a:srgbClr val="342A28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7EA945E-5964-C74B-9E82-B5B32D4B44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342A28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1C99879-A83D-6A4A-87D1-B4605F24D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638B4D-85DB-A14C-9B12-881965F06E69}" type="slidenum">
              <a:rPr lang="ru-RU" smtClean="0">
                <a:solidFill>
                  <a:srgbClr val="342A28"/>
                </a:solidFill>
              </a:rPr>
              <a:pPr/>
              <a:t>‹#›</a:t>
            </a:fld>
            <a:endParaRPr lang="ru-RU" dirty="0">
              <a:solidFill>
                <a:srgbClr val="342A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0633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15447A5-3147-4992-BA91-030235B6EEE4}"/>
              </a:ext>
            </a:extLst>
          </p:cNvPr>
          <p:cNvSpPr/>
          <p:nvPr/>
        </p:nvSpPr>
        <p:spPr bwMode="white">
          <a:xfrm>
            <a:off x="0" y="5970588"/>
            <a:ext cx="12192000" cy="88741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FD5F8ED5-F481-4762-9660-234DE5847FA8}"/>
              </a:ext>
            </a:extLst>
          </p:cNvPr>
          <p:cNvSpPr/>
          <p:nvPr/>
        </p:nvSpPr>
        <p:spPr>
          <a:xfrm>
            <a:off x="-12700" y="6053138"/>
            <a:ext cx="3000375" cy="7127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7E4AC08D-3B67-4683-B3E1-D0B83F560326}"/>
              </a:ext>
            </a:extLst>
          </p:cNvPr>
          <p:cNvSpPr/>
          <p:nvPr/>
        </p:nvSpPr>
        <p:spPr>
          <a:xfrm>
            <a:off x="3144838" y="6043613"/>
            <a:ext cx="9047162" cy="7143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3149600" y="4038600"/>
            <a:ext cx="8636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149600" y="6050037"/>
            <a:ext cx="89408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7" name="Дата 27">
            <a:extLst>
              <a:ext uri="{FF2B5EF4-FFF2-40B4-BE49-F238E27FC236}">
                <a16:creationId xmlns:a16="http://schemas.microsoft.com/office/drawing/2014/main" xmlns="" id="{4B1F8CE1-719D-4DE6-9BC9-C8BAEAF6D2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600" y="6069013"/>
            <a:ext cx="27432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C929FB4-4AE7-4591-93E8-EB50D1E13CE8}" type="datetimeFigureOut">
              <a:rPr lang="ru-RU"/>
              <a:pPr>
                <a:defRPr/>
              </a:pPr>
              <a:t>30.11.2023</a:t>
            </a:fld>
            <a:endParaRPr lang="ru-RU" dirty="0"/>
          </a:p>
        </p:txBody>
      </p:sp>
      <p:sp>
        <p:nvSpPr>
          <p:cNvPr id="10" name="Нижний колонтитул 16">
            <a:extLst>
              <a:ext uri="{FF2B5EF4-FFF2-40B4-BE49-F238E27FC236}">
                <a16:creationId xmlns:a16="http://schemas.microsoft.com/office/drawing/2014/main" xmlns="" id="{F30A8E04-D44B-4E13-BAAE-A3F494A20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81300" y="236538"/>
            <a:ext cx="782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 dirty="0">
              <a:solidFill>
                <a:srgbClr val="EBDDC3"/>
              </a:solidFill>
            </a:endParaRPr>
          </a:p>
        </p:txBody>
      </p:sp>
      <p:sp>
        <p:nvSpPr>
          <p:cNvPr id="11" name="Номер слайда 28">
            <a:extLst>
              <a:ext uri="{FF2B5EF4-FFF2-40B4-BE49-F238E27FC236}">
                <a16:creationId xmlns:a16="http://schemas.microsoft.com/office/drawing/2014/main" xmlns="" id="{D117A1A7-911F-4750-9AF8-7C138C04C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8000" y="228600"/>
            <a:ext cx="1117600" cy="381000"/>
          </a:xfrm>
        </p:spPr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2196DFF-4ACC-4A84-959B-C1B85C4D2570}" type="slidenum">
              <a:rPr lang="ru-RU" altLang="ru-RU">
                <a:solidFill>
                  <a:srgbClr val="EBDDC3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EBDD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258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18156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6864" y="228600"/>
            <a:ext cx="10871200" cy="9906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816864" y="1600200"/>
            <a:ext cx="10871200" cy="4495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5F4277-7F84-457A-AFEC-157F3850A598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ACA750-5E10-4EDE-889B-9EDAF25207B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496764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A6DB4CD5-27E5-4D03-A522-20C9B357974A}"/>
              </a:ext>
            </a:extLst>
          </p:cNvPr>
          <p:cNvSpPr/>
          <p:nvPr/>
        </p:nvSpPr>
        <p:spPr bwMode="white">
          <a:xfrm>
            <a:off x="0" y="1524000"/>
            <a:ext cx="12192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D0B39B32-1B2C-4CAA-9BFD-2470CF19A8AF}"/>
              </a:ext>
            </a:extLst>
          </p:cNvPr>
          <p:cNvSpPr/>
          <p:nvPr/>
        </p:nvSpPr>
        <p:spPr>
          <a:xfrm>
            <a:off x="0" y="1600200"/>
            <a:ext cx="17272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9246B483-22E7-4134-92D3-B7FD60D604A4}"/>
              </a:ext>
            </a:extLst>
          </p:cNvPr>
          <p:cNvSpPr/>
          <p:nvPr/>
        </p:nvSpPr>
        <p:spPr>
          <a:xfrm>
            <a:off x="1828800" y="1600200"/>
            <a:ext cx="103632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828802" y="2743200"/>
            <a:ext cx="9497484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800" y="1600200"/>
            <a:ext cx="1016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7" name="Дата 11">
            <a:extLst>
              <a:ext uri="{FF2B5EF4-FFF2-40B4-BE49-F238E27FC236}">
                <a16:creationId xmlns:a16="http://schemas.microsoft.com/office/drawing/2014/main" xmlns="" id="{F1887032-AA93-4E20-96C2-DDF97EBF01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057AE2-28B5-4038-A227-4C1FC4EFFBC2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8" name="Номер слайда 12">
            <a:extLst>
              <a:ext uri="{FF2B5EF4-FFF2-40B4-BE49-F238E27FC236}">
                <a16:creationId xmlns:a16="http://schemas.microsoft.com/office/drawing/2014/main" xmlns="" id="{5A93792C-9475-41F0-881B-887DCB0D0E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727200" cy="701675"/>
          </a:xfrm>
        </p:spPr>
        <p:txBody>
          <a:bodyPr>
            <a:noAutofit/>
          </a:bodyPr>
          <a:lstStyle>
            <a:lvl1pPr>
              <a:defRPr sz="2400" smtClean="0"/>
            </a:lvl1pPr>
          </a:lstStyle>
          <a:p>
            <a:pPr>
              <a:defRPr/>
            </a:pPr>
            <a:fld id="{326A27CB-7B14-4035-B384-FB2864F3AEB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9" name="Нижний колонтитул 13">
            <a:extLst>
              <a:ext uri="{FF2B5EF4-FFF2-40B4-BE49-F238E27FC236}">
                <a16:creationId xmlns:a16="http://schemas.microsoft.com/office/drawing/2014/main" xmlns="" id="{0F943043-0D8C-44E4-B392-0C3A883491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3410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812800" y="1589567"/>
            <a:ext cx="5181600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459868" y="1589567"/>
            <a:ext cx="5181600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7">
            <a:extLst>
              <a:ext uri="{FF2B5EF4-FFF2-40B4-BE49-F238E27FC236}">
                <a16:creationId xmlns:a16="http://schemas.microsoft.com/office/drawing/2014/main" xmlns="" id="{07415C8B-1DD4-46B1-BD94-9CDEBEF7B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4A588AC-8FD7-4CE0-AAC8-39A9A767CD6C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xmlns="" id="{BDCAA4A1-9C7F-4FBD-8441-36A855C01F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A23DFCB-3B73-4859-8C24-A66A9CC80D4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7" name="Нижний колонтитул 11">
            <a:extLst>
              <a:ext uri="{FF2B5EF4-FFF2-40B4-BE49-F238E27FC236}">
                <a16:creationId xmlns:a16="http://schemas.microsoft.com/office/drawing/2014/main" xmlns="" id="{76CEBA35-EC68-4EB0-A7CD-A54425C32C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7038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9">
            <a:extLst>
              <a:ext uri="{FF2B5EF4-FFF2-40B4-BE49-F238E27FC236}">
                <a16:creationId xmlns:a16="http://schemas.microsoft.com/office/drawing/2014/main" xmlns="" id="{02164F03-529B-4477-A006-49B9E22D1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184CB6-34E4-4ACC-8673-29321E47F79D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8" name="Номер слайда 11">
            <a:extLst>
              <a:ext uri="{FF2B5EF4-FFF2-40B4-BE49-F238E27FC236}">
                <a16:creationId xmlns:a16="http://schemas.microsoft.com/office/drawing/2014/main" xmlns="" id="{6AFDDCF5-D980-4AC2-9DEB-3EA42EFBB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F72785-47FE-453D-957B-33BA665B38A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9" name="Нижний колонтитул 13">
            <a:extLst>
              <a:ext uri="{FF2B5EF4-FFF2-40B4-BE49-F238E27FC236}">
                <a16:creationId xmlns:a16="http://schemas.microsoft.com/office/drawing/2014/main" xmlns="" id="{916C042C-3271-4A51-9DE4-224F510790A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0469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4178EA-BCB9-4FB4-80E6-4CE3BCF3889B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4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5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4741A5-6F74-4934-8020-9F39A71DCA9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229746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88271955-1C23-4B17-8513-44D4691A65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4D92-0AC2-48C3-856C-93EA477F9ABF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FAD89D5A-FD1B-4BA2-A6B1-3F90B7701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2EF99DF2-C785-40C9-8A30-38413EAC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711200" cy="381000"/>
          </a:xfrm>
        </p:spPr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768DD17-F28F-40D0-A62E-DC2D172FAE4C}" type="slidenum">
              <a:rPr lang="ru-RU" altLang="ru-RU">
                <a:solidFill>
                  <a:srgbClr val="775F55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7735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273050"/>
            <a:ext cx="107696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812800" y="1752600"/>
            <a:ext cx="21336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3149600" y="1752600"/>
            <a:ext cx="8534400" cy="4419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80A8F9-27D6-4B10-A450-111A51B89EC2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7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C0A1C9-411D-4175-B05E-3EF40EB30C8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890189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DABCF2F6-0B6B-48AD-80B8-7F81A3F1BB83}"/>
              </a:ext>
            </a:extLst>
          </p:cNvPr>
          <p:cNvSpPr/>
          <p:nvPr/>
        </p:nvSpPr>
        <p:spPr bwMode="white">
          <a:xfrm>
            <a:off x="-12700" y="4572000"/>
            <a:ext cx="12192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595C0AE-6022-4AB9-9A74-289909B89CBC}"/>
              </a:ext>
            </a:extLst>
          </p:cNvPr>
          <p:cNvSpPr/>
          <p:nvPr/>
        </p:nvSpPr>
        <p:spPr>
          <a:xfrm>
            <a:off x="-12700" y="4664075"/>
            <a:ext cx="1951038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123CC1F8-3F72-4D83-A50F-E2EEB2317763}"/>
              </a:ext>
            </a:extLst>
          </p:cNvPr>
          <p:cNvSpPr/>
          <p:nvPr/>
        </p:nvSpPr>
        <p:spPr>
          <a:xfrm>
            <a:off x="2060575" y="4654550"/>
            <a:ext cx="10131425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B808FF6-07EE-444B-BE74-7BC594331355}"/>
              </a:ext>
            </a:extLst>
          </p:cNvPr>
          <p:cNvSpPr/>
          <p:nvPr/>
        </p:nvSpPr>
        <p:spPr bwMode="white">
          <a:xfrm>
            <a:off x="1930400" y="0"/>
            <a:ext cx="133350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133600" y="5486400"/>
            <a:ext cx="97536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3600" y="4648200"/>
            <a:ext cx="97536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80768" y="0"/>
            <a:ext cx="10111232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dirty="0"/>
              <a:t>Вставка рисунка</a:t>
            </a:r>
            <a:endParaRPr lang="en-US" noProof="0" dirty="0"/>
          </a:p>
        </p:txBody>
      </p:sp>
      <p:sp>
        <p:nvSpPr>
          <p:cNvPr id="9" name="Дата 11">
            <a:extLst>
              <a:ext uri="{FF2B5EF4-FFF2-40B4-BE49-F238E27FC236}">
                <a16:creationId xmlns:a16="http://schemas.microsoft.com/office/drawing/2014/main" xmlns="" id="{09D1B5E7-5B0B-44A7-B24C-99ECFB6832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31200" y="6248400"/>
            <a:ext cx="3556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A60618F7-AACE-4D1B-BB4C-5D7D1132F322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10" name="Номер слайда 12">
            <a:extLst>
              <a:ext uri="{FF2B5EF4-FFF2-40B4-BE49-F238E27FC236}">
                <a16:creationId xmlns:a16="http://schemas.microsoft.com/office/drawing/2014/main" xmlns="" id="{F9F3DEDB-CD9D-425A-A156-D680FA7A45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930400" cy="663575"/>
          </a:xfrm>
        </p:spPr>
        <p:txBody>
          <a:bodyPr/>
          <a:lstStyle>
            <a:lvl1pPr>
              <a:defRPr sz="2800" smtClean="0"/>
            </a:lvl1pPr>
          </a:lstStyle>
          <a:p>
            <a:pPr>
              <a:defRPr/>
            </a:pPr>
            <a:fld id="{AD002EEF-54A7-4B0A-B103-A358D8C73AD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1" name="Нижний колонтитул 13">
            <a:extLst>
              <a:ext uri="{FF2B5EF4-FFF2-40B4-BE49-F238E27FC236}">
                <a16:creationId xmlns:a16="http://schemas.microsoft.com/office/drawing/2014/main" xmlns="" id="{D974CAA1-492C-47FF-A9FF-44D4CDAFB0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133600" y="6248400"/>
            <a:ext cx="6096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726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9EAFF2-28C1-4BFC-981A-E90291BAECE4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E4FBC-34A2-4BD4-953D-8A6C11C470D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224026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306F1908-A492-4DAC-B91B-04AB4CAF74E5}"/>
              </a:ext>
            </a:extLst>
          </p:cNvPr>
          <p:cNvSpPr/>
          <p:nvPr/>
        </p:nvSpPr>
        <p:spPr bwMode="white">
          <a:xfrm>
            <a:off x="8128000" y="0"/>
            <a:ext cx="427038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0F160E1-3125-4E49-A0BC-72AC5E21000A}"/>
              </a:ext>
            </a:extLst>
          </p:cNvPr>
          <p:cNvSpPr/>
          <p:nvPr/>
        </p:nvSpPr>
        <p:spPr>
          <a:xfrm>
            <a:off x="8189913" y="609600"/>
            <a:ext cx="3048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A306A3D8-DA3D-411D-8FFA-50558DFF7633}"/>
              </a:ext>
            </a:extLst>
          </p:cNvPr>
          <p:cNvSpPr/>
          <p:nvPr/>
        </p:nvSpPr>
        <p:spPr>
          <a:xfrm>
            <a:off x="8189913" y="0"/>
            <a:ext cx="3048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37600" y="609602"/>
            <a:ext cx="2743200" cy="551656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7416800" cy="551656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xmlns="" id="{BF83A67E-0653-4B05-B5A6-030D917DA2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37600" y="6248400"/>
            <a:ext cx="29464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1F8290-B6D7-41C5-B2C7-2CFAC90E5573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39E41880-8EC9-4FBA-AFF2-FAC53C6B3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248400"/>
            <a:ext cx="743108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775F55"/>
              </a:solidFill>
            </a:endParaRP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CD08120F-D7E8-4C5F-A9FA-987A6DD73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8074819" y="103981"/>
            <a:ext cx="533400" cy="32543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F2D81-7AEC-4D9E-8F4D-9EA6CEBF778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52663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60207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xmlns="" id="{D2D7EE86-4CD8-4500-81FF-B9659AACEF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opyright" hidden="1">
            <a:extLst>
              <a:ext uri="{FF2B5EF4-FFF2-40B4-BE49-F238E27FC236}">
                <a16:creationId xmlns:a16="http://schemas.microsoft.com/office/drawing/2014/main" xmlns="" id="{11D7D23C-39D7-4A58-9176-5C670A672015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ru-RU" sz="700" dirty="0">
                <a:solidFill>
                  <a:srgbClr val="7F7F7F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xmlns="" id="{AD0D733F-AA31-4B04-B5D5-6D60AF0DBC3B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60844" y="5117306"/>
            <a:ext cx="2743200" cy="968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ru-RU" altLang="ru-RU" sz="700" dirty="0" err="1">
                <a:solidFill>
                  <a:srgbClr val="7F7F7F"/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altLang="ru-RU" sz="700" dirty="0">
                <a:solidFill>
                  <a:srgbClr val="7F7F7F"/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altLang="ru-RU" sz="700" dirty="0">
                <a:solidFill>
                  <a:srgbClr val="7F7F7F"/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xmlns="" id="{0A12EB5F-77BD-4217-914F-ED9C829ED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4476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3" name="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3">
            <a:extLst>
              <a:ext uri="{FF2B5EF4-FFF2-40B4-BE49-F238E27FC236}">
                <a16:creationId xmlns:a16="http://schemas.microsoft.com/office/drawing/2014/main" xmlns="" id="{72FAA2B8-8E9A-40CB-8550-72A83A6F4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409483-E74E-4380-BC2D-6C64F6538441}" type="datetimeFigureOut">
              <a:rPr lang="en-US">
                <a:solidFill>
                  <a:srgbClr val="775F55"/>
                </a:solidFill>
              </a:rPr>
              <a:pPr>
                <a:defRPr/>
              </a:pPr>
              <a:t>11/30/2023</a:t>
            </a:fld>
            <a:endParaRPr lang="en-US">
              <a:solidFill>
                <a:srgbClr val="775F55"/>
              </a:solidFill>
            </a:endParaRPr>
          </a:p>
        </p:txBody>
      </p:sp>
      <p:sp>
        <p:nvSpPr>
          <p:cNvPr id="5" name="Footer 4">
            <a:extLst>
              <a:ext uri="{FF2B5EF4-FFF2-40B4-BE49-F238E27FC236}">
                <a16:creationId xmlns:a16="http://schemas.microsoft.com/office/drawing/2014/main" xmlns="" id="{B94FF6D9-128B-4673-97A5-62E04D262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775F55"/>
              </a:solidFill>
            </a:endParaRPr>
          </a:p>
        </p:txBody>
      </p:sp>
      <p:sp>
        <p:nvSpPr>
          <p:cNvPr id="6" name="Slide number 5">
            <a:extLst>
              <a:ext uri="{FF2B5EF4-FFF2-40B4-BE49-F238E27FC236}">
                <a16:creationId xmlns:a16="http://schemas.microsoft.com/office/drawing/2014/main" xmlns="" id="{B1501767-EEFC-469F-B179-C1FA253AB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8858A1-7976-468F-ACDE-147D5F0B8629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7275869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x" userDrawn="1">
  <p:cSld name="Quo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Линия"/>
          <p:cNvSpPr>
            <a:spLocks noChangeShapeType="1"/>
          </p:cNvSpPr>
          <p:nvPr/>
        </p:nvSpPr>
        <p:spPr bwMode="auto">
          <a:xfrm>
            <a:off x="5924550" y="881063"/>
            <a:ext cx="212725" cy="527050"/>
          </a:xfrm>
          <a:prstGeom prst="line">
            <a:avLst/>
          </a:prstGeom>
          <a:noFill/>
          <a:ln w="254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Линия"/>
          <p:cNvSpPr>
            <a:spLocks noChangeShapeType="1"/>
          </p:cNvSpPr>
          <p:nvPr/>
        </p:nvSpPr>
        <p:spPr bwMode="auto">
          <a:xfrm flipH="1">
            <a:off x="6054725" y="881063"/>
            <a:ext cx="212725" cy="527050"/>
          </a:xfrm>
          <a:prstGeom prst="line">
            <a:avLst/>
          </a:prstGeom>
          <a:noFill/>
          <a:ln w="254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Линия"/>
          <p:cNvSpPr>
            <a:spLocks noChangeShapeType="1"/>
          </p:cNvSpPr>
          <p:nvPr/>
        </p:nvSpPr>
        <p:spPr bwMode="auto">
          <a:xfrm flipH="1">
            <a:off x="6010275" y="881063"/>
            <a:ext cx="212725" cy="527050"/>
          </a:xfrm>
          <a:prstGeom prst="line">
            <a:avLst/>
          </a:prstGeom>
          <a:noFill/>
          <a:ln w="127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Линия"/>
          <p:cNvSpPr>
            <a:spLocks noChangeShapeType="1"/>
          </p:cNvSpPr>
          <p:nvPr/>
        </p:nvSpPr>
        <p:spPr bwMode="auto">
          <a:xfrm>
            <a:off x="5776913" y="1279525"/>
            <a:ext cx="638175" cy="0"/>
          </a:xfrm>
          <a:prstGeom prst="line">
            <a:avLst/>
          </a:prstGeom>
          <a:noFill/>
          <a:ln w="127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Прямоугольник">
            <a:extLst>
              <a:ext uri="{FF2B5EF4-FFF2-40B4-BE49-F238E27FC236}">
                <a16:creationId xmlns:a16="http://schemas.microsoft.com/office/drawing/2014/main" xmlns="" id="{23F6D0C3-C26B-40F3-AF9B-ED1058BF2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588" y="-6350"/>
            <a:ext cx="12195176" cy="317500"/>
          </a:xfrm>
          <a:prstGeom prst="rect">
            <a:avLst/>
          </a:prstGeom>
          <a:solidFill>
            <a:srgbClr val="294891"/>
          </a:solidFill>
          <a:ln>
            <a:noFill/>
          </a:ln>
          <a:extLst/>
        </p:spPr>
        <p:txBody>
          <a:bodyPr lIns="35719" tIns="35719" rIns="35719" bIns="35719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3200">
              <a:solidFill>
                <a:srgbClr val="294891"/>
              </a:solidFill>
            </a:endParaRPr>
          </a:p>
        </p:txBody>
      </p:sp>
      <p:sp>
        <p:nvSpPr>
          <p:cNvPr id="7" name="Прямоугольник">
            <a:extLst>
              <a:ext uri="{FF2B5EF4-FFF2-40B4-BE49-F238E27FC236}">
                <a16:creationId xmlns:a16="http://schemas.microsoft.com/office/drawing/2014/main" xmlns="" id="{38797CDE-CF72-4994-9D26-216E10A1D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588" y="6546850"/>
            <a:ext cx="12195176" cy="317500"/>
          </a:xfrm>
          <a:prstGeom prst="rect">
            <a:avLst/>
          </a:prstGeom>
          <a:solidFill>
            <a:srgbClr val="294891"/>
          </a:solidFill>
          <a:ln>
            <a:noFill/>
          </a:ln>
          <a:extLst/>
        </p:spPr>
        <p:txBody>
          <a:bodyPr lIns="35719" tIns="35719" rIns="35719" bIns="35719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3200">
              <a:solidFill>
                <a:srgbClr val="FFFFFF"/>
              </a:solidFill>
            </a:endParaRPr>
          </a:p>
        </p:txBody>
      </p:sp>
      <p:pic>
        <p:nvPicPr>
          <p:cNvPr id="8" name="pasted-image.tiff" descr="pasted-image.tif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43" r="39743" b="36076"/>
          <a:stretch>
            <a:fillRect/>
          </a:stretch>
        </p:blipFill>
        <p:spPr bwMode="auto">
          <a:xfrm>
            <a:off x="11387138" y="476250"/>
            <a:ext cx="5238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9" name="Номер слайда">
            <a:extLst>
              <a:ext uri="{FF2B5EF4-FFF2-40B4-BE49-F238E27FC236}">
                <a16:creationId xmlns:a16="http://schemas.microsoft.com/office/drawing/2014/main" xmlns="" id="{B34F215C-8791-43D6-907E-BB68174AF8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5961063" y="6500813"/>
            <a:ext cx="260350" cy="257175"/>
          </a:xfrm>
        </p:spPr>
        <p:txBody>
          <a:bodyPr lIns="35719" tIns="35719" rIns="35719" bIns="35719" anchor="t"/>
          <a:lstStyle>
            <a:lvl1pPr>
              <a:defRPr smtClean="0">
                <a:solidFill>
                  <a:srgbClr val="000000"/>
                </a:solidFill>
                <a:latin typeface="Tw Cen MT" panose="020B0602020104020603" pitchFamily="34" charset="0"/>
              </a:defRPr>
            </a:lvl1pPr>
          </a:lstStyle>
          <a:p>
            <a:pPr>
              <a:defRPr/>
            </a:pPr>
            <a:fld id="{A7920271-8109-427E-8AC8-76907C482B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00064513"/>
      </p:ext>
    </p:extLst>
  </p:cSld>
  <p:clrMapOvr>
    <a:masterClrMapping/>
  </p:clrMapOvr>
  <p:hf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15447A5-3147-4992-BA91-030235B6EEE4}"/>
              </a:ext>
            </a:extLst>
          </p:cNvPr>
          <p:cNvSpPr/>
          <p:nvPr/>
        </p:nvSpPr>
        <p:spPr bwMode="white">
          <a:xfrm>
            <a:off x="0" y="5970588"/>
            <a:ext cx="12192000" cy="88741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FD5F8ED5-F481-4762-9660-234DE5847FA8}"/>
              </a:ext>
            </a:extLst>
          </p:cNvPr>
          <p:cNvSpPr/>
          <p:nvPr/>
        </p:nvSpPr>
        <p:spPr>
          <a:xfrm>
            <a:off x="-12700" y="6053138"/>
            <a:ext cx="3000375" cy="7127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7E4AC08D-3B67-4683-B3E1-D0B83F560326}"/>
              </a:ext>
            </a:extLst>
          </p:cNvPr>
          <p:cNvSpPr/>
          <p:nvPr/>
        </p:nvSpPr>
        <p:spPr>
          <a:xfrm>
            <a:off x="3144838" y="6043613"/>
            <a:ext cx="9047162" cy="7143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3149600" y="4038600"/>
            <a:ext cx="8636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149600" y="6050037"/>
            <a:ext cx="89408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7" name="Дата 27">
            <a:extLst>
              <a:ext uri="{FF2B5EF4-FFF2-40B4-BE49-F238E27FC236}">
                <a16:creationId xmlns:a16="http://schemas.microsoft.com/office/drawing/2014/main" xmlns="" id="{4B1F8CE1-719D-4DE6-9BC9-C8BAEAF6D2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600" y="6069013"/>
            <a:ext cx="27432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C929FB4-4AE7-4591-93E8-EB50D1E13CE8}" type="datetimeFigureOut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10" name="Нижний колонтитул 16">
            <a:extLst>
              <a:ext uri="{FF2B5EF4-FFF2-40B4-BE49-F238E27FC236}">
                <a16:creationId xmlns:a16="http://schemas.microsoft.com/office/drawing/2014/main" xmlns="" id="{F30A8E04-D44B-4E13-BAAE-A3F494A20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81300" y="236538"/>
            <a:ext cx="78232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EBDDC3"/>
              </a:solidFill>
            </a:endParaRPr>
          </a:p>
        </p:txBody>
      </p:sp>
      <p:sp>
        <p:nvSpPr>
          <p:cNvPr id="11" name="Номер слайда 28">
            <a:extLst>
              <a:ext uri="{FF2B5EF4-FFF2-40B4-BE49-F238E27FC236}">
                <a16:creationId xmlns:a16="http://schemas.microsoft.com/office/drawing/2014/main" xmlns="" id="{D117A1A7-911F-4750-9AF8-7C138C04C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8000" y="228600"/>
            <a:ext cx="1117600" cy="381000"/>
          </a:xfrm>
        </p:spPr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2196DFF-4ACC-4A84-959B-C1B85C4D2570}" type="slidenum">
              <a:rPr lang="ru-RU" altLang="ru-RU">
                <a:solidFill>
                  <a:srgbClr val="EBDDC3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EBDD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958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6864" y="228600"/>
            <a:ext cx="10871200" cy="9906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816864" y="1600200"/>
            <a:ext cx="10871200" cy="4495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5F4277-7F84-457A-AFEC-157F3850A598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ACA750-5E10-4EDE-889B-9EDAF25207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899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A6DB4CD5-27E5-4D03-A522-20C9B357974A}"/>
              </a:ext>
            </a:extLst>
          </p:cNvPr>
          <p:cNvSpPr/>
          <p:nvPr/>
        </p:nvSpPr>
        <p:spPr bwMode="white">
          <a:xfrm>
            <a:off x="0" y="1524000"/>
            <a:ext cx="12192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D0B39B32-1B2C-4CAA-9BFD-2470CF19A8AF}"/>
              </a:ext>
            </a:extLst>
          </p:cNvPr>
          <p:cNvSpPr/>
          <p:nvPr/>
        </p:nvSpPr>
        <p:spPr>
          <a:xfrm>
            <a:off x="0" y="1600200"/>
            <a:ext cx="17272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9246B483-22E7-4134-92D3-B7FD60D604A4}"/>
              </a:ext>
            </a:extLst>
          </p:cNvPr>
          <p:cNvSpPr/>
          <p:nvPr/>
        </p:nvSpPr>
        <p:spPr>
          <a:xfrm>
            <a:off x="1828800" y="1600200"/>
            <a:ext cx="103632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828802" y="2743200"/>
            <a:ext cx="9497484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800" y="1600200"/>
            <a:ext cx="1016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7" name="Дата 11">
            <a:extLst>
              <a:ext uri="{FF2B5EF4-FFF2-40B4-BE49-F238E27FC236}">
                <a16:creationId xmlns:a16="http://schemas.microsoft.com/office/drawing/2014/main" xmlns="" id="{F1887032-AA93-4E20-96C2-DDF97EBF01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057AE2-28B5-4038-A227-4C1FC4EFFBC2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8" name="Номер слайда 12">
            <a:extLst>
              <a:ext uri="{FF2B5EF4-FFF2-40B4-BE49-F238E27FC236}">
                <a16:creationId xmlns:a16="http://schemas.microsoft.com/office/drawing/2014/main" xmlns="" id="{5A93792C-9475-41F0-881B-887DCB0D0E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727200" cy="701675"/>
          </a:xfrm>
        </p:spPr>
        <p:txBody>
          <a:bodyPr>
            <a:noAutofit/>
          </a:bodyPr>
          <a:lstStyle>
            <a:lvl1pPr>
              <a:defRPr sz="2400" smtClean="0"/>
            </a:lvl1pPr>
          </a:lstStyle>
          <a:p>
            <a:pPr>
              <a:defRPr/>
            </a:pPr>
            <a:fld id="{326A27CB-7B14-4035-B384-FB2864F3AE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9" name="Нижний колонтитул 13">
            <a:extLst>
              <a:ext uri="{FF2B5EF4-FFF2-40B4-BE49-F238E27FC236}">
                <a16:creationId xmlns:a16="http://schemas.microsoft.com/office/drawing/2014/main" xmlns="" id="{0F943043-0D8C-44E4-B392-0C3A883491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385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812800" y="1589567"/>
            <a:ext cx="5181600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459868" y="1589567"/>
            <a:ext cx="5181600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7">
            <a:extLst>
              <a:ext uri="{FF2B5EF4-FFF2-40B4-BE49-F238E27FC236}">
                <a16:creationId xmlns:a16="http://schemas.microsoft.com/office/drawing/2014/main" xmlns="" id="{07415C8B-1DD4-46B1-BD94-9CDEBEF7B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4A588AC-8FD7-4CE0-AAC8-39A9A767CD6C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6" name="Номер слайда 9">
            <a:extLst>
              <a:ext uri="{FF2B5EF4-FFF2-40B4-BE49-F238E27FC236}">
                <a16:creationId xmlns:a16="http://schemas.microsoft.com/office/drawing/2014/main" xmlns="" id="{BDCAA4A1-9C7F-4FBD-8441-36A855C01F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A23DFCB-3B73-4859-8C24-A66A9CC80D4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7" name="Нижний колонтитул 11">
            <a:extLst>
              <a:ext uri="{FF2B5EF4-FFF2-40B4-BE49-F238E27FC236}">
                <a16:creationId xmlns:a16="http://schemas.microsoft.com/office/drawing/2014/main" xmlns="" id="{76CEBA35-EC68-4EB0-A7CD-A54425C32C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742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1200" y="273050"/>
            <a:ext cx="108712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812800" y="2438400"/>
            <a:ext cx="5181600" cy="3581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6400800" y="2438400"/>
            <a:ext cx="5181600" cy="3581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812800" y="1752600"/>
            <a:ext cx="51816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6400800" y="1752600"/>
            <a:ext cx="51816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9">
            <a:extLst>
              <a:ext uri="{FF2B5EF4-FFF2-40B4-BE49-F238E27FC236}">
                <a16:creationId xmlns:a16="http://schemas.microsoft.com/office/drawing/2014/main" xmlns="" id="{02164F03-529B-4477-A006-49B9E22D1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184CB6-34E4-4ACC-8673-29321E47F79D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8" name="Номер слайда 11">
            <a:extLst>
              <a:ext uri="{FF2B5EF4-FFF2-40B4-BE49-F238E27FC236}">
                <a16:creationId xmlns:a16="http://schemas.microsoft.com/office/drawing/2014/main" xmlns="" id="{6AFDDCF5-D980-4AC2-9DEB-3EA42EFBB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F72785-47FE-453D-957B-33BA665B38A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9" name="Нижний колонтитул 13">
            <a:extLst>
              <a:ext uri="{FF2B5EF4-FFF2-40B4-BE49-F238E27FC236}">
                <a16:creationId xmlns:a16="http://schemas.microsoft.com/office/drawing/2014/main" xmlns="" id="{916C042C-3271-4A51-9DE4-224F510790A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9610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4178EA-BCB9-4FB4-80E6-4CE3BCF3889B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4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  <p:sp>
        <p:nvSpPr>
          <p:cNvPr id="5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4741A5-6F74-4934-8020-9F39A71DCA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75829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88271955-1C23-4B17-8513-44D4691A65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94D92-0AC2-48C3-856C-93EA477F9ABF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FAD89D5A-FD1B-4BA2-A6B1-3F90B7701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2EF99DF2-C785-40C9-8A30-38413EAC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711200" cy="381000"/>
          </a:xfrm>
        </p:spPr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768DD17-F28F-40D0-A62E-DC2D172FAE4C}" type="slidenum">
              <a:rPr lang="ru-RU" altLang="ru-RU">
                <a:solidFill>
                  <a:srgbClr val="775F55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674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54768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273050"/>
            <a:ext cx="107696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812800" y="1752600"/>
            <a:ext cx="21336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3149600" y="1752600"/>
            <a:ext cx="8534400" cy="4419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80A8F9-27D6-4B10-A450-111A51B89EC2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  <p:sp>
        <p:nvSpPr>
          <p:cNvPr id="7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C0A1C9-411D-4175-B05E-3EF40EB30C8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572781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DABCF2F6-0B6B-48AD-80B8-7F81A3F1BB83}"/>
              </a:ext>
            </a:extLst>
          </p:cNvPr>
          <p:cNvSpPr/>
          <p:nvPr/>
        </p:nvSpPr>
        <p:spPr bwMode="white">
          <a:xfrm>
            <a:off x="-12700" y="4572000"/>
            <a:ext cx="12192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595C0AE-6022-4AB9-9A74-289909B89CBC}"/>
              </a:ext>
            </a:extLst>
          </p:cNvPr>
          <p:cNvSpPr/>
          <p:nvPr/>
        </p:nvSpPr>
        <p:spPr>
          <a:xfrm>
            <a:off x="-12700" y="4664075"/>
            <a:ext cx="1951038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123CC1F8-3F72-4D83-A50F-E2EEB2317763}"/>
              </a:ext>
            </a:extLst>
          </p:cNvPr>
          <p:cNvSpPr/>
          <p:nvPr/>
        </p:nvSpPr>
        <p:spPr>
          <a:xfrm>
            <a:off x="2060575" y="4654550"/>
            <a:ext cx="10131425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B808FF6-07EE-444B-BE74-7BC594331355}"/>
              </a:ext>
            </a:extLst>
          </p:cNvPr>
          <p:cNvSpPr/>
          <p:nvPr/>
        </p:nvSpPr>
        <p:spPr bwMode="white">
          <a:xfrm>
            <a:off x="1930400" y="0"/>
            <a:ext cx="133350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133600" y="5486400"/>
            <a:ext cx="97536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3600" y="4648200"/>
            <a:ext cx="97536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80768" y="0"/>
            <a:ext cx="10111232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9" name="Дата 11">
            <a:extLst>
              <a:ext uri="{FF2B5EF4-FFF2-40B4-BE49-F238E27FC236}">
                <a16:creationId xmlns:a16="http://schemas.microsoft.com/office/drawing/2014/main" xmlns="" id="{09D1B5E7-5B0B-44A7-B24C-99ECFB6832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31200" y="6248400"/>
            <a:ext cx="3556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A60618F7-AACE-4D1B-BB4C-5D7D1132F322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10" name="Номер слайда 12">
            <a:extLst>
              <a:ext uri="{FF2B5EF4-FFF2-40B4-BE49-F238E27FC236}">
                <a16:creationId xmlns:a16="http://schemas.microsoft.com/office/drawing/2014/main" xmlns="" id="{F9F3DEDB-CD9D-425A-A156-D680FA7A45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930400" cy="663575"/>
          </a:xfrm>
        </p:spPr>
        <p:txBody>
          <a:bodyPr/>
          <a:lstStyle>
            <a:lvl1pPr>
              <a:defRPr sz="2800" smtClean="0"/>
            </a:lvl1pPr>
          </a:lstStyle>
          <a:p>
            <a:pPr>
              <a:defRPr/>
            </a:pPr>
            <a:fld id="{AD002EEF-54A7-4B0A-B103-A358D8C73AD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1" name="Нижний колонтитул 13">
            <a:extLst>
              <a:ext uri="{FF2B5EF4-FFF2-40B4-BE49-F238E27FC236}">
                <a16:creationId xmlns:a16="http://schemas.microsoft.com/office/drawing/2014/main" xmlns="" id="{D974CAA1-492C-47FF-A9FF-44D4CDAFB02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133600" y="6248400"/>
            <a:ext cx="6096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903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9EAFF2-28C1-4BFC-981A-E90291BAECE4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E4FBC-34A2-4BD4-953D-8A6C11C470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817989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306F1908-A492-4DAC-B91B-04AB4CAF74E5}"/>
              </a:ext>
            </a:extLst>
          </p:cNvPr>
          <p:cNvSpPr/>
          <p:nvPr/>
        </p:nvSpPr>
        <p:spPr bwMode="white">
          <a:xfrm>
            <a:off x="8128000" y="0"/>
            <a:ext cx="427038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0F160E1-3125-4E49-A0BC-72AC5E21000A}"/>
              </a:ext>
            </a:extLst>
          </p:cNvPr>
          <p:cNvSpPr/>
          <p:nvPr/>
        </p:nvSpPr>
        <p:spPr>
          <a:xfrm>
            <a:off x="8189913" y="609600"/>
            <a:ext cx="3048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A306A3D8-DA3D-411D-8FFA-50558DFF7633}"/>
              </a:ext>
            </a:extLst>
          </p:cNvPr>
          <p:cNvSpPr/>
          <p:nvPr/>
        </p:nvSpPr>
        <p:spPr>
          <a:xfrm>
            <a:off x="8189913" y="0"/>
            <a:ext cx="3048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37600" y="609602"/>
            <a:ext cx="2743200" cy="551656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7416800" cy="551656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xmlns="" id="{BF83A67E-0653-4B05-B5A6-030D917DA2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37600" y="6248400"/>
            <a:ext cx="29464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1F8290-B6D7-41C5-B2C7-2CFAC90E5573}" type="datetimeFigureOut">
              <a:rPr lang="ru-RU">
                <a:solidFill>
                  <a:srgbClr val="775F55"/>
                </a:solidFill>
              </a:rPr>
              <a:pPr>
                <a:defRPr/>
              </a:pPr>
              <a:t>30.11.2023</a:t>
            </a:fld>
            <a:endParaRPr lang="ru-RU">
              <a:solidFill>
                <a:srgbClr val="775F55"/>
              </a:solidFill>
            </a:endParaRP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39E41880-8EC9-4FBA-AFF2-FAC53C6B3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248400"/>
            <a:ext cx="743108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775F55"/>
              </a:solidFill>
            </a:endParaRP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CD08120F-D7E8-4C5F-A9FA-987A6DD73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8074819" y="103981"/>
            <a:ext cx="533400" cy="32543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F2D81-7AEC-4D9E-8F4D-9EA6CEBF77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37463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xmlns="" id="{D2D7EE86-4CD8-4500-81FF-B9659AACEF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Copyright" hidden="1">
            <a:extLst>
              <a:ext uri="{FF2B5EF4-FFF2-40B4-BE49-F238E27FC236}">
                <a16:creationId xmlns:a16="http://schemas.microsoft.com/office/drawing/2014/main" xmlns="" id="{11D7D23C-39D7-4A58-9176-5C670A672015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ru-RU" sz="700">
                <a:solidFill>
                  <a:srgbClr val="7F7F7F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xmlns="" id="{AD0D733F-AA31-4B04-B5D5-6D60AF0DBC3B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60844" y="5117306"/>
            <a:ext cx="2743200" cy="968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ru-RU" altLang="ru-RU" sz="700">
                <a:solidFill>
                  <a:srgbClr val="7F7F7F"/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 розничные форматы-8</a:t>
            </a:r>
            <a:r>
              <a:rPr lang="en-US" altLang="ru-RU" sz="700">
                <a:solidFill>
                  <a:srgbClr val="7F7F7F"/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xmlns="" id="{0A12EB5F-77BD-4217-914F-ED9C829ED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52187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3" name="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3">
            <a:extLst>
              <a:ext uri="{FF2B5EF4-FFF2-40B4-BE49-F238E27FC236}">
                <a16:creationId xmlns:a16="http://schemas.microsoft.com/office/drawing/2014/main" xmlns="" id="{72FAA2B8-8E9A-40CB-8550-72A83A6F4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409483-E74E-4380-BC2D-6C64F6538441}" type="datetimeFigureOut">
              <a:rPr lang="en-US">
                <a:solidFill>
                  <a:srgbClr val="775F55"/>
                </a:solidFill>
              </a:rPr>
              <a:pPr>
                <a:defRPr/>
              </a:pPr>
              <a:t>11/30/2023</a:t>
            </a:fld>
            <a:endParaRPr lang="en-US">
              <a:solidFill>
                <a:srgbClr val="775F55"/>
              </a:solidFill>
            </a:endParaRPr>
          </a:p>
        </p:txBody>
      </p:sp>
      <p:sp>
        <p:nvSpPr>
          <p:cNvPr id="5" name="Footer 4">
            <a:extLst>
              <a:ext uri="{FF2B5EF4-FFF2-40B4-BE49-F238E27FC236}">
                <a16:creationId xmlns:a16="http://schemas.microsoft.com/office/drawing/2014/main" xmlns="" id="{B94FF6D9-128B-4673-97A5-62E04D262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775F55"/>
              </a:solidFill>
            </a:endParaRPr>
          </a:p>
        </p:txBody>
      </p:sp>
      <p:sp>
        <p:nvSpPr>
          <p:cNvPr id="6" name="Slide number 5">
            <a:extLst>
              <a:ext uri="{FF2B5EF4-FFF2-40B4-BE49-F238E27FC236}">
                <a16:creationId xmlns:a16="http://schemas.microsoft.com/office/drawing/2014/main" xmlns="" id="{B1501767-EEFC-469F-B179-C1FA253AB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8858A1-7976-468F-ACDE-147D5F0B8629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8988593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x" userDrawn="1">
  <p:cSld name="Quo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Линия"/>
          <p:cNvSpPr>
            <a:spLocks noChangeShapeType="1"/>
          </p:cNvSpPr>
          <p:nvPr/>
        </p:nvSpPr>
        <p:spPr bwMode="auto">
          <a:xfrm>
            <a:off x="5924550" y="881063"/>
            <a:ext cx="212725" cy="527050"/>
          </a:xfrm>
          <a:prstGeom prst="line">
            <a:avLst/>
          </a:prstGeom>
          <a:noFill/>
          <a:ln w="254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Линия"/>
          <p:cNvSpPr>
            <a:spLocks noChangeShapeType="1"/>
          </p:cNvSpPr>
          <p:nvPr/>
        </p:nvSpPr>
        <p:spPr bwMode="auto">
          <a:xfrm flipH="1">
            <a:off x="6054725" y="881063"/>
            <a:ext cx="212725" cy="527050"/>
          </a:xfrm>
          <a:prstGeom prst="line">
            <a:avLst/>
          </a:prstGeom>
          <a:noFill/>
          <a:ln w="254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Линия"/>
          <p:cNvSpPr>
            <a:spLocks noChangeShapeType="1"/>
          </p:cNvSpPr>
          <p:nvPr/>
        </p:nvSpPr>
        <p:spPr bwMode="auto">
          <a:xfrm flipH="1">
            <a:off x="6010275" y="881063"/>
            <a:ext cx="212725" cy="527050"/>
          </a:xfrm>
          <a:prstGeom prst="line">
            <a:avLst/>
          </a:prstGeom>
          <a:noFill/>
          <a:ln w="127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Линия"/>
          <p:cNvSpPr>
            <a:spLocks noChangeShapeType="1"/>
          </p:cNvSpPr>
          <p:nvPr/>
        </p:nvSpPr>
        <p:spPr bwMode="auto">
          <a:xfrm>
            <a:off x="5776913" y="1279525"/>
            <a:ext cx="638175" cy="0"/>
          </a:xfrm>
          <a:prstGeom prst="line">
            <a:avLst/>
          </a:prstGeom>
          <a:noFill/>
          <a:ln w="127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5719" tIns="35719" rIns="35719" bIns="357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Прямоугольник">
            <a:extLst>
              <a:ext uri="{FF2B5EF4-FFF2-40B4-BE49-F238E27FC236}">
                <a16:creationId xmlns:a16="http://schemas.microsoft.com/office/drawing/2014/main" xmlns="" id="{23F6D0C3-C26B-40F3-AF9B-ED1058BF2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588" y="-6350"/>
            <a:ext cx="12195176" cy="317500"/>
          </a:xfrm>
          <a:prstGeom prst="rect">
            <a:avLst/>
          </a:prstGeom>
          <a:solidFill>
            <a:srgbClr val="294891"/>
          </a:solidFill>
          <a:ln>
            <a:noFill/>
          </a:ln>
          <a:extLst/>
        </p:spPr>
        <p:txBody>
          <a:bodyPr lIns="35719" tIns="35719" rIns="35719" bIns="35719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3200">
              <a:solidFill>
                <a:srgbClr val="294891"/>
              </a:solidFill>
            </a:endParaRPr>
          </a:p>
        </p:txBody>
      </p:sp>
      <p:sp>
        <p:nvSpPr>
          <p:cNvPr id="7" name="Прямоугольник">
            <a:extLst>
              <a:ext uri="{FF2B5EF4-FFF2-40B4-BE49-F238E27FC236}">
                <a16:creationId xmlns:a16="http://schemas.microsoft.com/office/drawing/2014/main" xmlns="" id="{38797CDE-CF72-4994-9D26-216E10A1D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588" y="6546850"/>
            <a:ext cx="12195176" cy="317500"/>
          </a:xfrm>
          <a:prstGeom prst="rect">
            <a:avLst/>
          </a:prstGeom>
          <a:solidFill>
            <a:srgbClr val="294891"/>
          </a:solidFill>
          <a:ln>
            <a:noFill/>
          </a:ln>
          <a:extLst/>
        </p:spPr>
        <p:txBody>
          <a:bodyPr lIns="35719" tIns="35719" rIns="35719" bIns="35719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3200">
              <a:solidFill>
                <a:srgbClr val="FFFFFF"/>
              </a:solidFill>
            </a:endParaRPr>
          </a:p>
        </p:txBody>
      </p:sp>
      <p:pic>
        <p:nvPicPr>
          <p:cNvPr id="8" name="pasted-image.tiff" descr="pasted-image.tif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43" r="39743" b="36076"/>
          <a:stretch>
            <a:fillRect/>
          </a:stretch>
        </p:blipFill>
        <p:spPr bwMode="auto">
          <a:xfrm>
            <a:off x="11387138" y="476250"/>
            <a:ext cx="5238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9" name="Номер слайда">
            <a:extLst>
              <a:ext uri="{FF2B5EF4-FFF2-40B4-BE49-F238E27FC236}">
                <a16:creationId xmlns:a16="http://schemas.microsoft.com/office/drawing/2014/main" xmlns="" id="{B34F215C-8791-43D6-907E-BB68174AF8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5961063" y="6500813"/>
            <a:ext cx="260350" cy="257175"/>
          </a:xfrm>
        </p:spPr>
        <p:txBody>
          <a:bodyPr lIns="35719" tIns="35719" rIns="35719" bIns="35719" anchor="t"/>
          <a:lstStyle>
            <a:lvl1pPr>
              <a:defRPr smtClean="0">
                <a:solidFill>
                  <a:srgbClr val="000000"/>
                </a:solidFill>
                <a:latin typeface="Tw Cen MT" panose="020B0602020104020603" pitchFamily="34" charset="0"/>
              </a:defRPr>
            </a:lvl1pPr>
          </a:lstStyle>
          <a:p>
            <a:pPr>
              <a:defRPr/>
            </a:pPr>
            <a:fld id="{A7920271-8109-427E-8AC8-76907C482B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3458807"/>
      </p:ext>
    </p:extLst>
  </p:cSld>
  <p:clrMapOvr>
    <a:masterClrMapping/>
  </p:clrMapOvr>
  <p:hf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835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2159001" y="76201"/>
            <a:ext cx="9283700" cy="1824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3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Международный форум </a:t>
            </a:r>
            <a:r>
              <a:rPr lang="ru-RU" sz="29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/>
            </a:r>
            <a:br>
              <a:rPr lang="ru-RU" sz="29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ru-RU" sz="37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ЕВРАЗИЙСКИЙ ОБРАЗОВАТЕЛЬНЫЙ ДИАЛОГ</a:t>
            </a:r>
            <a:r>
              <a:rPr lang="ru-RU" sz="53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/>
            </a:r>
            <a:br>
              <a:rPr lang="ru-RU" sz="53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г.</a:t>
            </a:r>
            <a:r>
              <a:rPr lang="en-US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</a:t>
            </a: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Ярославль </a:t>
            </a:r>
            <a:r>
              <a:rPr lang="en-US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| </a:t>
            </a: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26-27 апреля 2021 года 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334434" y="1913467"/>
            <a:ext cx="111379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5" descr="X:\____Форум2016\презентации\simb_прозр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3" y="-105833"/>
            <a:ext cx="1583267" cy="1966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ru-RU" sz="4267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67808" y="4293096"/>
            <a:ext cx="7478283" cy="17526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None/>
              <a:defRPr lang="ru-RU" sz="3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Arial" pitchFamily="34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889A7A-38DB-4772-BDD4-1A00F82C6DB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6C34E4-9061-45DF-B6FC-58EABA63FFF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248223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nnn\Documents\Data\___Обр_форум\2021\шаблоны-презентации\шапка-сайт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8" name="Прямоугольник 7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9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325077"/>
          </a:xfrm>
        </p:spPr>
        <p:txBody>
          <a:bodyPr/>
          <a:lstStyle>
            <a:lvl1pPr>
              <a:buClr>
                <a:srgbClr val="003399"/>
              </a:buClr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E73F60-DE59-4454-97B5-816240DDD1F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01F6D-3E47-4664-B49C-0CFF0D20954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621829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835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2159001" y="76201"/>
            <a:ext cx="9283700" cy="1824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3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Международный форум </a:t>
            </a:r>
            <a:r>
              <a:rPr lang="ru-RU" sz="29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/>
            </a:r>
            <a:br>
              <a:rPr lang="ru-RU" sz="29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ru-RU" sz="37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ЕВРАЗИЙСКИЙ ОБРАЗОВАТЕЛЬНЫЙ ДИАЛОГ</a:t>
            </a:r>
            <a:r>
              <a:rPr lang="ru-RU" sz="53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/>
            </a:r>
            <a:br>
              <a:rPr lang="ru-RU" sz="53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г.</a:t>
            </a:r>
            <a:r>
              <a:rPr lang="en-US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</a:t>
            </a: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Ярославль </a:t>
            </a:r>
            <a:r>
              <a:rPr lang="en-US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| </a:t>
            </a: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26-27 апреля 2021 года 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334434" y="1913467"/>
            <a:ext cx="111379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5" descr="X:\____Форум2016\презентации\simb_прозр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3" y="-105833"/>
            <a:ext cx="1583267" cy="1966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lang="ru-RU" sz="4267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907D42-E9A9-4EBF-89F9-3AADC1A8187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A3344E-C7E5-499B-942E-5966819ECFC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16393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04986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9" name="Прямоугольник 8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10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325076"/>
          </a:xfrm>
        </p:spPr>
        <p:txBody>
          <a:bodyPr/>
          <a:lstStyle>
            <a:lvl1pPr>
              <a:buClr>
                <a:srgbClr val="003399"/>
              </a:buCl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325076"/>
          </a:xfrm>
        </p:spPr>
        <p:txBody>
          <a:bodyPr/>
          <a:lstStyle>
            <a:lvl1pPr>
              <a:buClr>
                <a:srgbClr val="003399"/>
              </a:buCl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5FD972-1513-427A-BC0C-A97AFB77789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7F18CA-9B93-44AC-9DE2-B654E4DDBA6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73954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11" name="Прямоугольник 10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12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830109"/>
          </a:xfrm>
        </p:spPr>
        <p:txBody>
          <a:bodyPr/>
          <a:lstStyle>
            <a:lvl1pPr>
              <a:buClr>
                <a:srgbClr val="003399"/>
              </a:buCl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830109"/>
          </a:xfrm>
        </p:spPr>
        <p:txBody>
          <a:bodyPr/>
          <a:lstStyle>
            <a:lvl1pPr>
              <a:buClr>
                <a:srgbClr val="003399"/>
              </a:buCl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5B3C9A-2331-4F1A-A93E-FE768B6D924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011C12-6A00-403E-AFE9-06A62F95C4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669046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8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098EDA-2455-4B5B-B8F7-9E455E2C6B9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C3BD3E-A741-42BA-817B-E5B76BC063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8243809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8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0A8272-5ABB-434A-9633-2358233173C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129196-9943-4692-8EC8-1B87CF55A2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871387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9" name="Прямоугольник 8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10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1508789"/>
            <a:ext cx="6815667" cy="4496196"/>
          </a:xfrm>
        </p:spPr>
        <p:txBody>
          <a:bodyPr/>
          <a:lstStyle>
            <a:lvl1pPr>
              <a:buClr>
                <a:srgbClr val="003399"/>
              </a:buCl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508789"/>
            <a:ext cx="4011084" cy="4496196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6BAC5-425B-437A-97D1-631299AB799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CC876E-2E77-4BCD-BA6A-EEEB13934E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820841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9" name="Прямоугольник 8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10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411817"/>
            <a:ext cx="7315200" cy="3841385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253204"/>
            <a:ext cx="7315200" cy="751781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3C43B-CAF5-4734-B31A-B632CAD64CD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762B3C-6E83-453A-BF47-FB4126D689E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436913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8" name="Прямоугольник 7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9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404784"/>
          </a:xfrm>
        </p:spPr>
        <p:txBody>
          <a:bodyPr vert="eaVert"/>
          <a:lstStyle>
            <a:lvl1pPr>
              <a:buClr>
                <a:srgbClr val="003399"/>
              </a:buClr>
              <a:defRPr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241299" y="173765"/>
            <a:ext cx="11595100" cy="1143000"/>
          </a:xfrm>
        </p:spPr>
        <p:txBody>
          <a:bodyPr/>
          <a:lstStyle>
            <a:lvl1pPr>
              <a:defRPr lang="ru-RU" sz="3733" kern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0B10FF-2B73-4B5A-9B97-127AF34C49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5038D4-927E-47AB-8277-E51AFC76BB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342951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nnn\Documents\Data\___Обр_форум\2021\шаблоны-презентации\шапка-сайт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033" y="40218"/>
            <a:ext cx="2946400" cy="136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 userDrawn="1"/>
        </p:nvSpPr>
        <p:spPr bwMode="auto">
          <a:xfrm>
            <a:off x="46567" y="40218"/>
            <a:ext cx="9313333" cy="1363133"/>
          </a:xfrm>
          <a:prstGeom prst="rect">
            <a:avLst/>
          </a:prstGeom>
          <a:solidFill>
            <a:srgbClr val="004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5400000" flipH="1">
            <a:off x="6112934" y="133351"/>
            <a:ext cx="61383" cy="11804651"/>
          </a:xfrm>
          <a:prstGeom prst="rect">
            <a:avLst/>
          </a:prstGeom>
          <a:pattFill prst="ltVert">
            <a:fgClr>
              <a:srgbClr val="00206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863600" y="6161618"/>
            <a:ext cx="61044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Международный форум </a:t>
            </a:r>
            <a:b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ru-RU" altLang="ru-RU" sz="160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ЕВРАЗИЙСКИЙ ОБРАЗОВАТЕЛЬНЫЙ ДИАЛОГ</a:t>
            </a:r>
          </a:p>
        </p:txBody>
      </p:sp>
      <p:sp>
        <p:nvSpPr>
          <p:cNvPr id="8" name="Прямоугольник 7"/>
          <p:cNvSpPr>
            <a:spLocks noChangeArrowheads="1"/>
          </p:cNvSpPr>
          <p:nvPr userDrawn="1"/>
        </p:nvSpPr>
        <p:spPr bwMode="auto">
          <a:xfrm>
            <a:off x="7799918" y="6284385"/>
            <a:ext cx="43476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26-27 апреля 2021  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|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г.</a:t>
            </a:r>
            <a:r>
              <a:rPr lang="en-US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altLang="ru-RU" sz="1600" dirty="0">
                <a:solidFill>
                  <a:srgbClr val="BFBFBF"/>
                </a:solidFill>
                <a:latin typeface="Arial Black" pitchFamily="34" charset="0"/>
                <a:ea typeface="Arial Unicode MS" pitchFamily="34" charset="-128"/>
                <a:cs typeface="Arial Unicode MS" pitchFamily="34" charset="-128"/>
              </a:rPr>
              <a:t>Ярославль</a:t>
            </a:r>
          </a:p>
        </p:txBody>
      </p:sp>
      <p:pic>
        <p:nvPicPr>
          <p:cNvPr id="9" name="Picture 4" descr="C:\Users\nnn\Documents\Data\___Обр_форум\2021\tilda\логотип-фоны\презентации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021918"/>
            <a:ext cx="670984" cy="905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411817"/>
            <a:ext cx="2743200" cy="471434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411817"/>
            <a:ext cx="8026400" cy="471434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11B41A-3741-4A3F-BF5E-C051B34113E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75FDFA-9DA6-4960-A331-06F138C235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953982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835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Заголовок 1"/>
          <p:cNvSpPr txBox="1">
            <a:spLocks/>
          </p:cNvSpPr>
          <p:nvPr userDrawn="1"/>
        </p:nvSpPr>
        <p:spPr bwMode="auto">
          <a:xfrm>
            <a:off x="2542118" y="165100"/>
            <a:ext cx="9283700" cy="233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3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Международный форум </a:t>
            </a:r>
            <a:r>
              <a:rPr lang="ru-RU" sz="29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/>
            </a:r>
            <a:br>
              <a:rPr lang="ru-RU" sz="29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ru-RU" sz="53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ЕВРАЗИЙСКИЙ </a:t>
            </a:r>
          </a:p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53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ОБРАЗОВАТЕЛЬНЫЙ ДИАЛОГ</a:t>
            </a:r>
            <a:br>
              <a:rPr lang="ru-RU" sz="5333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</a:b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г.</a:t>
            </a:r>
            <a:r>
              <a:rPr lang="en-US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</a:t>
            </a: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Ярославль </a:t>
            </a:r>
            <a:r>
              <a:rPr lang="en-US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| </a:t>
            </a:r>
            <a:r>
              <a:rPr lang="ru-RU" sz="2667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26-27 апреля 2021 года 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719667" y="2755900"/>
            <a:ext cx="111379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X:\____Форум2016\презентации\simb_прозр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68" y="-105833"/>
            <a:ext cx="2239433" cy="2783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83450F-3785-4904-B242-482B1D38BB2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C465D2-0275-4158-80D5-F8E16435238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53270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1A0BF8-6686-4F02-AB36-9614142B3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3B406FE-1165-421C-8D35-96F0CFEA6D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A7B22AA-13F6-430C-B5C3-3ED6A1325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2FB799C-1B8A-42C0-AD53-6DBEF2EC7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8C035E-958A-44D5-9920-E77375E90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706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33799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628C7A-67F3-4CAD-9852-569FF656A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D1E717F-25DD-4AF6-8E4C-C3F0B72587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B9BF79-C6C8-4A28-B317-36AB52011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052C1D1-F1BF-42DD-A7C6-2ED272DF8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5916BF-016F-4056-985B-466516E68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7246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39FAECB-6827-4D91-8EB5-800DD8EA2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3CEBD6D-8344-4937-9A0D-E2DBE531B3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0598055-7F4B-4E57-92A1-C43CE07ED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BC8293C-337A-46B9-801C-405BA28F91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7FE3A87-6EF6-4E32-958D-D3BDE968E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5836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39C1E4F-8411-4152-A040-45E4E38D4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C93C882-D441-40BC-AAB7-FB3EF79F6F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80FF742-A50B-4EB6-86AE-E67F120A5B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ACB9172-F4DE-4657-A074-EF8778EE7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7507DBE-C8F7-423C-9124-EE7B3D22E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881AC0B-71D5-43A5-AD86-9668B4D92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1652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C204D3-549C-4770-B620-7E3D4678A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4306D22-9474-474E-A4DD-36D304E576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D9ED9F3-E75B-4CB6-9C20-44656AF01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2AB8604-4E78-4EF6-AF81-B832751C75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14C7266C-4F95-4B63-B8A4-5D430A6FCB5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8DA605C0-AC58-49C3-BFDA-E7ADCFC7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A8CDB99B-8E2F-47DA-B6C3-50842D8C3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00ACA83-753D-4AEE-B568-755DCF5ED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936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0738EDC-8D44-427B-90E0-FBD0FBAC9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8AE544B-A36F-473A-86AF-50F024291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E6F2748-531A-4318-A370-27EDE490E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5AD6E57-F20B-43D2-A268-2449E7D4A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57136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CEC2F6E-BB8D-4A07-B873-A379FEAE4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29C64672-2E28-45BB-AB1E-9CA10E908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33CCF35-5028-4E4D-8F6E-2E2DF0FB4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3677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760471D-7A64-4A50-B9A6-0F3A78088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16427B1-871E-4C56-AF97-3F78ADBFA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CF52702-EC0A-4FBA-9939-DCF10E412D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1EDDBB8-93FE-4585-A97D-0E391EE246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CB77A2A-D97D-4B06-A029-77A3A88DA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BF4E011-48A8-486A-BF53-E7C085173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04087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EA2B76-0D50-4AE7-8E70-B69B2F112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E700288-1A1C-45A8-B99A-68E661D708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8D19D42-4449-4938-BE9F-F8A026382E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15CB693-3AD5-4FB5-9BD7-DDA6EA895A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B28CAAB-378F-4646-836D-6723AF226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E08A5F22-2F00-4B7E-95E3-D4E37EE6F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0772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BE3A36-A7B5-4AED-90CE-DAABE341C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626DD818-2AC6-4AD8-ADB0-757AE6DE1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AB561BE-2670-413D-B85D-350DC6A08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A7469BC-9B02-4F1D-9332-C52CAA6CD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8F37A4D-841D-4B35-BD23-CCB82FC1C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2968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F24028CB-78B2-414A-9948-C32EA4A46C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52AA2E1-9030-407F-A8FB-98BCFFFDF7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0722082-BED4-46DC-B1C0-9696140EF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485038-E165-45A4-8C75-C8A3CA817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79D7943-C606-446E-B743-3AB1AE587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410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84CDDC-CDA9-45ED-A128-486817327D06}" type="datetimeFigureOut">
              <a:rPr lang="ru-RU" smtClean="0"/>
              <a:pPr/>
              <a:t>30.11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39EE1-FC60-4C34-8B78-6EEE106C8C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7862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1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">
            <a:extLst>
              <a:ext uri="{FF2B5EF4-FFF2-40B4-BE49-F238E27FC236}">
                <a16:creationId xmlns:a16="http://schemas.microsoft.com/office/drawing/2014/main" xmlns="" id="{73E7688E-5AD4-440B-AD7A-FCF131218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Введите заголовок</a:t>
            </a:r>
            <a:endParaRPr lang="ru-RU" dirty="0"/>
          </a:p>
        </p:txBody>
      </p:sp>
      <p:sp>
        <p:nvSpPr>
          <p:cNvPr id="3" name="Текст 1">
            <a:extLst>
              <a:ext uri="{FF2B5EF4-FFF2-40B4-BE49-F238E27FC236}">
                <a16:creationId xmlns:a16="http://schemas.microsoft.com/office/drawing/2014/main" xmlns="" id="{13FE13C4-B8D0-45B5-AD0B-6D3318FAB3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Введите текст</a:t>
            </a:r>
            <a:endParaRPr lang="ru-RU" dirty="0"/>
          </a:p>
        </p:txBody>
      </p:sp>
    </p:spTree>
    <p:custDataLst>
      <p:tags r:id="rId38"/>
    </p:custDataLst>
    <p:extLst>
      <p:ext uri="{BB962C8B-B14F-4D97-AF65-F5344CB8AC3E}">
        <p14:creationId xmlns:p14="http://schemas.microsoft.com/office/powerpoint/2010/main" val="1688448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812800" y="228600"/>
            <a:ext cx="108712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817563" y="1600200"/>
            <a:ext cx="108712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28000" y="6248400"/>
            <a:ext cx="3556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340742-9727-41FD-B79B-D1FFB22FE1BE}" type="datetimeFigureOut">
              <a:rPr lang="ru-RU">
                <a:solidFill>
                  <a:srgbClr val="775F55"/>
                </a:solidFill>
                <a:latin typeface="Century Gothic" panose="020B0502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.11.2023</a:t>
            </a:fld>
            <a:endParaRPr lang="ru-RU" dirty="0">
              <a:solidFill>
                <a:srgbClr val="775F55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800" y="6248400"/>
            <a:ext cx="7227888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775F55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713E872D-7833-4716-82DD-DA1BA7372C87}"/>
              </a:ext>
            </a:extLst>
          </p:cNvPr>
          <p:cNvSpPr/>
          <p:nvPr/>
        </p:nvSpPr>
        <p:spPr bwMode="white">
          <a:xfrm>
            <a:off x="0" y="1235075"/>
            <a:ext cx="12192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BFFA056B-6066-445B-90AB-E261C8F46455}"/>
              </a:ext>
            </a:extLst>
          </p:cNvPr>
          <p:cNvSpPr/>
          <p:nvPr/>
        </p:nvSpPr>
        <p:spPr>
          <a:xfrm>
            <a:off x="0" y="1279525"/>
            <a:ext cx="7112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66046DBA-7DA5-49BD-B402-723A59B50D4F}"/>
              </a:ext>
            </a:extLst>
          </p:cNvPr>
          <p:cNvSpPr/>
          <p:nvPr/>
        </p:nvSpPr>
        <p:spPr>
          <a:xfrm>
            <a:off x="787400" y="1279525"/>
            <a:ext cx="1140460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7112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eaLnBrk="1" hangingPunct="1">
              <a:defRPr sz="1400" b="1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ED7CFA5-B860-4E67-9C7E-05CC4C12B9F1}" type="slidenum">
              <a:rPr lang="ru-RU" altLang="ru-RU">
                <a:latin typeface="Century Gothic" panose="020B0502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2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anose="05000000000000000000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A5AB81"/>
        </a:buClr>
        <a:buSzPct val="75000"/>
        <a:buFont typeface="Wingdings" panose="05000000000000000000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8B25C"/>
        </a:buClr>
        <a:buSzPct val="65000"/>
        <a:buFont typeface="Wingdings" panose="05000000000000000000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812800" y="228600"/>
            <a:ext cx="108712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817563" y="1600200"/>
            <a:ext cx="108712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>
            <a:extLst>
              <a:ext uri="{FF2B5EF4-FFF2-40B4-BE49-F238E27FC236}">
                <a16:creationId xmlns:a16="http://schemas.microsoft.com/office/drawing/2014/main" xmlns="" id="{E0ACE1BD-10C3-49A0-B39B-190C724664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28000" y="6248400"/>
            <a:ext cx="3556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340742-9727-41FD-B79B-D1FFB22FE1BE}" type="datetimeFigureOut">
              <a:rPr lang="ru-RU">
                <a:solidFill>
                  <a:srgbClr val="775F55"/>
                </a:solidFill>
                <a:latin typeface="Century Gothic" panose="020B0502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.11.2023</a:t>
            </a:fld>
            <a:endParaRPr lang="ru-RU" dirty="0">
              <a:solidFill>
                <a:srgbClr val="775F55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2ABC9C7E-C104-4EA1-B61A-99FC80C17E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2800" y="6248400"/>
            <a:ext cx="7227888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775F55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713E872D-7833-4716-82DD-DA1BA7372C87}"/>
              </a:ext>
            </a:extLst>
          </p:cNvPr>
          <p:cNvSpPr/>
          <p:nvPr/>
        </p:nvSpPr>
        <p:spPr bwMode="white">
          <a:xfrm>
            <a:off x="0" y="1235075"/>
            <a:ext cx="12192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BFFA056B-6066-445B-90AB-E261C8F46455}"/>
              </a:ext>
            </a:extLst>
          </p:cNvPr>
          <p:cNvSpPr/>
          <p:nvPr/>
        </p:nvSpPr>
        <p:spPr>
          <a:xfrm>
            <a:off x="0" y="1279525"/>
            <a:ext cx="7112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66046DBA-7DA5-49BD-B402-723A59B50D4F}"/>
              </a:ext>
            </a:extLst>
          </p:cNvPr>
          <p:cNvSpPr/>
          <p:nvPr/>
        </p:nvSpPr>
        <p:spPr>
          <a:xfrm>
            <a:off x="787400" y="1279525"/>
            <a:ext cx="1140460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Номер слайда 22">
            <a:extLst>
              <a:ext uri="{FF2B5EF4-FFF2-40B4-BE49-F238E27FC236}">
                <a16:creationId xmlns:a16="http://schemas.microsoft.com/office/drawing/2014/main" xmlns="" id="{192CA9B5-1617-438A-A142-A6CEEDDB46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7112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eaLnBrk="1" hangingPunct="1">
              <a:defRPr sz="1400" b="1" smtClean="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ED7CFA5-B860-4E67-9C7E-05CC4C12B9F1}" type="slidenum">
              <a:rPr lang="ru-RU" altLang="ru-RU">
                <a:latin typeface="Century Gothic" panose="020B0502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056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anose="05000000000000000000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A5AB81"/>
        </a:buClr>
        <a:buSzPct val="75000"/>
        <a:buFont typeface="Wingdings" panose="05000000000000000000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8B25C"/>
        </a:buClr>
        <a:buSzPct val="65000"/>
        <a:buFont typeface="Wingdings" panose="05000000000000000000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E4E43B5-3F58-4DB2-A382-F64422660D1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7E2C6D-40A3-40D5-97E4-32ED60258C28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845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C73493B-E27E-4DC0-A41A-7E254FDDD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B619A8B-408B-4DCB-AC39-AC640BF856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4A87CC5-FBB1-4FE5-893F-7BD071C75E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61375A-C223-44C8-917C-F7C3A1BCD50F}" type="datetimeFigureOut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30/11/2023</a:t>
            </a:fld>
            <a:endParaRPr lang="en-GB" dirty="0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68E1BCB-E2F2-4D1B-BCFC-521169C8E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282F3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111173B-B48E-4DCF-8715-5805390549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83841B-0DB4-4C99-B5E5-79625F01DBF7}" type="slidenum">
              <a:rPr lang="en-GB" smtClean="0">
                <a:solidFill>
                  <a:srgbClr val="282F39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282F3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30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2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5.xml"/><Relationship Id="rId5" Type="http://schemas.openxmlformats.org/officeDocument/2006/relationships/image" Target="../media/image45.png"/><Relationship Id="rId4" Type="http://schemas.openxmlformats.org/officeDocument/2006/relationships/image" Target="../media/image4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yspu.online/" TargetMode="Externa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41.png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9006" y="1110343"/>
            <a:ext cx="10241280" cy="4389120"/>
          </a:xfrm>
        </p:spPr>
        <p:txBody>
          <a:bodyPr anchor="ctr">
            <a:normAutofit fontScale="90000"/>
          </a:bodyPr>
          <a:lstStyle/>
          <a:p>
            <a:pPr algn="l"/>
            <a:r>
              <a:rPr lang="ru-RU" sz="4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ункциональная грамотность учителя: новые личностно-профессиональные роли учителя в условиях неопределенности, неоднозначности, противоречивости</a:t>
            </a:r>
            <a:br>
              <a:rPr lang="ru-RU" sz="4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48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13510" y="5159829"/>
            <a:ext cx="11299370" cy="1091117"/>
          </a:xfrm>
        </p:spPr>
        <p:txBody>
          <a:bodyPr anchor="b">
            <a:normAutofit fontScale="92500" lnSpcReduction="20000"/>
          </a:bodyPr>
          <a:lstStyle/>
          <a:p>
            <a:pPr algn="l"/>
            <a:r>
              <a:rPr lang="ru-RU" b="1" i="1" dirty="0" smtClean="0"/>
              <a:t>Репина Алевтина Валентиновна, </a:t>
            </a:r>
            <a:r>
              <a:rPr lang="ru-RU" i="1" dirty="0" smtClean="0"/>
              <a:t>руководитель научно-методический центр сопровождения педагогических работников «Центр </a:t>
            </a:r>
            <a:r>
              <a:rPr lang="ru-RU" i="1" dirty="0" err="1" smtClean="0"/>
              <a:t>трансфера</a:t>
            </a:r>
            <a:r>
              <a:rPr lang="ru-RU" i="1" dirty="0" smtClean="0"/>
              <a:t> образовательных технологий «Новая дидактика» ЯГПУ им. К.Д. Ушинского,, кандидат педагогических наук, Почетный работник общего образования РФ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1510" y="509653"/>
            <a:ext cx="1338560" cy="707163"/>
          </a:xfrm>
          <a:prstGeom prst="rect">
            <a:avLst/>
          </a:prstGeom>
        </p:spPr>
      </p:pic>
      <p:pic>
        <p:nvPicPr>
          <p:cNvPr id="6" name="Picture 2" descr="http://yspu.org/images/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585" y="350131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99170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5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467890" y="2213874"/>
            <a:ext cx="1325262" cy="0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Равнобедренный треугольник 59"/>
          <p:cNvSpPr/>
          <p:nvPr/>
        </p:nvSpPr>
        <p:spPr>
          <a:xfrm rot="10800000">
            <a:off x="8870957" y="-2451210"/>
            <a:ext cx="3682999" cy="3175000"/>
          </a:xfrm>
          <a:prstGeom prst="triangle">
            <a:avLst/>
          </a:prstGeom>
          <a:solidFill>
            <a:srgbClr val="FEC4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270171" y="274320"/>
            <a:ext cx="5656218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i="1" dirty="0" smtClean="0">
                <a:solidFill>
                  <a:schemeClr val="bg1"/>
                </a:solidFill>
              </a:rPr>
              <a:t>Учитель как человек социума</a:t>
            </a:r>
            <a:endParaRPr lang="ru-RU" sz="3200" b="1" dirty="0" smtClean="0">
              <a:solidFill>
                <a:schemeClr val="bg1"/>
              </a:solidFill>
            </a:endParaRPr>
          </a:p>
          <a:p>
            <a:r>
              <a:rPr lang="ru-RU" sz="2400" b="1" dirty="0" smtClean="0">
                <a:solidFill>
                  <a:schemeClr val="bg1"/>
                </a:solidFill>
              </a:rPr>
              <a:t>(ситуации социального взаимодействия с другими людьми)</a:t>
            </a:r>
          </a:p>
          <a:p>
            <a:pPr>
              <a:buNone/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>
              <a:buNone/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r>
              <a:rPr lang="ru-RU" sz="2400" b="1" i="1" dirty="0" smtClean="0">
                <a:solidFill>
                  <a:schemeClr val="bg1"/>
                </a:solidFill>
              </a:rPr>
              <a:t> </a:t>
            </a:r>
            <a:r>
              <a:rPr lang="ru-RU" sz="3200" b="1" i="1" dirty="0" smtClean="0">
                <a:solidFill>
                  <a:schemeClr val="bg1"/>
                </a:solidFill>
              </a:rPr>
              <a:t>Учитель как работник </a:t>
            </a:r>
          </a:p>
          <a:p>
            <a:pPr algn="just">
              <a:buNone/>
            </a:pPr>
            <a:r>
              <a:rPr lang="ru-RU" sz="2400" b="1" dirty="0" smtClean="0">
                <a:solidFill>
                  <a:schemeClr val="bg1"/>
                </a:solidFill>
              </a:rPr>
              <a:t> (ситуации трудовой деятельности решение профессиональных задач, коммуникации с участниками образовательных отношений по должности, личностно-профессиональное  развитие в профессии и непрерывное образование «в течение всей жизни»)</a:t>
            </a:r>
            <a:endParaRPr lang="ru-RU" sz="2400" b="1" i="1" dirty="0" smtClean="0">
              <a:solidFill>
                <a:schemeClr val="bg1"/>
              </a:solidFill>
            </a:endParaRPr>
          </a:p>
        </p:txBody>
      </p:sp>
      <p:sp>
        <p:nvSpPr>
          <p:cNvPr id="97284" name="AutoShape 4" descr="https://smolschool37.gosuslugi.ru/netcat_files/48/174/Biznes_insajt_bezopasnost_dannyh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97285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880129" y="0"/>
            <a:ext cx="699354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32700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8749365" y="0"/>
            <a:ext cx="3442633" cy="6858000"/>
          </a:xfrm>
          <a:prstGeom prst="rect">
            <a:avLst/>
          </a:prstGeom>
          <a:solidFill>
            <a:srgbClr val="1B32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0A1E7939-390B-4329-B49E-8C36E2006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5" y="227570"/>
            <a:ext cx="8125915" cy="1138386"/>
          </a:xfrm>
        </p:spPr>
        <p:txBody>
          <a:bodyPr>
            <a:noAutofit/>
          </a:bodyPr>
          <a:lstStyle/>
          <a:p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Medium" panose="02000000000000000000" pitchFamily="2" charset="0"/>
                <a:cs typeface="Times New Roman" pitchFamily="18" charset="0"/>
              </a:rPr>
              <a:t>Новые ролевые позиции учителя</a:t>
            </a:r>
            <a:endParaRPr lang="ru-RU" sz="4000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ea typeface="Roboto Medium" panose="02000000000000000000" pitchFamily="2" charset="0"/>
              <a:cs typeface="Times New Roman" pitchFamily="18" charset="0"/>
            </a:endParaRPr>
          </a:p>
        </p:txBody>
      </p:sp>
      <p:sp>
        <p:nvSpPr>
          <p:cNvPr id="11" name="Равнобедренный треугольник 10"/>
          <p:cNvSpPr/>
          <p:nvPr/>
        </p:nvSpPr>
        <p:spPr>
          <a:xfrm rot="5400000">
            <a:off x="8363440" y="2340627"/>
            <a:ext cx="1222939" cy="47707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Овал 41">
            <a:extLst>
              <a:ext uri="{FF2B5EF4-FFF2-40B4-BE49-F238E27FC236}">
                <a16:creationId xmlns="" xmlns:a16="http://schemas.microsoft.com/office/drawing/2014/main" id="{CCECD282-40B7-4928-8A4E-A2F2D5112B15}"/>
              </a:ext>
            </a:extLst>
          </p:cNvPr>
          <p:cNvSpPr/>
          <p:nvPr/>
        </p:nvSpPr>
        <p:spPr>
          <a:xfrm>
            <a:off x="9713026" y="1830374"/>
            <a:ext cx="1566940" cy="15669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0" b="0" i="0" u="none" strike="noStrike" kern="1200" cap="none" spc="0" normalizeH="0" baseline="0" noProof="0" dirty="0">
              <a:ln>
                <a:noFill/>
              </a:ln>
              <a:solidFill>
                <a:srgbClr val="0072B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1A2BB7EF-438E-4971-9141-92933C43C88F}"/>
              </a:ext>
            </a:extLst>
          </p:cNvPr>
          <p:cNvGrpSpPr/>
          <p:nvPr/>
        </p:nvGrpSpPr>
        <p:grpSpPr>
          <a:xfrm>
            <a:off x="644574" y="1733745"/>
            <a:ext cx="8042225" cy="4821981"/>
            <a:chOff x="644574" y="1733745"/>
            <a:chExt cx="8042225" cy="4821981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28EC787B-8AE0-4F6A-AF3C-F093B95962F9}"/>
                </a:ext>
              </a:extLst>
            </p:cNvPr>
            <p:cNvSpPr/>
            <p:nvPr/>
          </p:nvSpPr>
          <p:spPr>
            <a:xfrm>
              <a:off x="644574" y="4597641"/>
              <a:ext cx="2229255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dirty="0" smtClean="0">
                  <a:latin typeface="Times New Roman" pitchFamily="18" charset="0"/>
                  <a:cs typeface="Times New Roman" pitchFamily="18" charset="0"/>
                </a:rPr>
                <a:t>Учитель как информатор, координатор, проводник</a:t>
              </a:r>
            </a:p>
          </p:txBody>
        </p:sp>
        <p:sp>
          <p:nvSpPr>
            <p:cNvPr id="36" name="Шестиугольник 35">
              <a:extLst>
                <a:ext uri="{FF2B5EF4-FFF2-40B4-BE49-F238E27FC236}">
                  <a16:creationId xmlns="" xmlns:a16="http://schemas.microsoft.com/office/drawing/2014/main" id="{A6BF6CAA-1F2F-4160-984E-E5A5F5499A54}"/>
                </a:ext>
              </a:extLst>
            </p:cNvPr>
            <p:cNvSpPr/>
            <p:nvPr/>
          </p:nvSpPr>
          <p:spPr>
            <a:xfrm>
              <a:off x="6294599" y="1747380"/>
              <a:ext cx="1929738" cy="1663569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Шестиугольник 42">
              <a:extLst>
                <a:ext uri="{FF2B5EF4-FFF2-40B4-BE49-F238E27FC236}">
                  <a16:creationId xmlns="" xmlns:a16="http://schemas.microsoft.com/office/drawing/2014/main" id="{33606BDB-1CC1-427F-8AEA-CC1C68DB36E1}"/>
                </a:ext>
              </a:extLst>
            </p:cNvPr>
            <p:cNvSpPr/>
            <p:nvPr/>
          </p:nvSpPr>
          <p:spPr>
            <a:xfrm>
              <a:off x="3618205" y="1733745"/>
              <a:ext cx="1929738" cy="1663569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Шестиугольник 43">
              <a:extLst>
                <a:ext uri="{FF2B5EF4-FFF2-40B4-BE49-F238E27FC236}">
                  <a16:creationId xmlns="" xmlns:a16="http://schemas.microsoft.com/office/drawing/2014/main" id="{A38C5F16-2177-4F42-A361-215EF44E8293}"/>
                </a:ext>
              </a:extLst>
            </p:cNvPr>
            <p:cNvSpPr/>
            <p:nvPr/>
          </p:nvSpPr>
          <p:spPr>
            <a:xfrm>
              <a:off x="941811" y="1747380"/>
              <a:ext cx="1929738" cy="1663569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5" name="Прямая со стрелкой 44">
              <a:extLst>
                <a:ext uri="{FF2B5EF4-FFF2-40B4-BE49-F238E27FC236}">
                  <a16:creationId xmlns="" xmlns:a16="http://schemas.microsoft.com/office/drawing/2014/main" id="{1A69E5B3-A909-490E-B72C-79301B3576E1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527982" y="4026067"/>
              <a:ext cx="734232" cy="0"/>
            </a:xfrm>
            <a:prstGeom prst="straightConnector1">
              <a:avLst/>
            </a:prstGeom>
            <a:ln w="38100" cap="rnd">
              <a:solidFill>
                <a:srgbClr val="0072BC"/>
              </a:solidFill>
              <a:prstDash val="sysDot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Прямоугольник 45">
              <a:extLst>
                <a:ext uri="{FF2B5EF4-FFF2-40B4-BE49-F238E27FC236}">
                  <a16:creationId xmlns="" xmlns:a16="http://schemas.microsoft.com/office/drawing/2014/main" id="{59C1C430-9BC3-449E-A24F-D7BD38625FCB}"/>
                </a:ext>
              </a:extLst>
            </p:cNvPr>
            <p:cNvSpPr/>
            <p:nvPr/>
          </p:nvSpPr>
          <p:spPr>
            <a:xfrm>
              <a:off x="2638697" y="4493623"/>
              <a:ext cx="3997234" cy="20621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80000"/>
                </a:lnSpc>
                <a:tabLst>
                  <a:tab pos="113030" algn="l"/>
                </a:tabLst>
                <a:defRPr/>
              </a:pPr>
              <a:r>
                <a:rPr lang="ru-RU" sz="2000" b="1" dirty="0" smtClean="0">
                  <a:latin typeface="Times New Roman" pitchFamily="18" charset="0"/>
                  <a:cs typeface="Times New Roman" pitchFamily="18" charset="0"/>
                </a:rPr>
                <a:t>Учитель как человек, ежедневно бросающего вызов, который не боится неопределенности, неоднозначности, противоречивости, недостаточной надежности информации, наличия альтернативных точек зрения</a:t>
              </a:r>
            </a:p>
          </p:txBody>
        </p:sp>
        <p:cxnSp>
          <p:nvCxnSpPr>
            <p:cNvPr id="47" name="Прямая со стрелкой 46">
              <a:extLst>
                <a:ext uri="{FF2B5EF4-FFF2-40B4-BE49-F238E27FC236}">
                  <a16:creationId xmlns="" xmlns:a16="http://schemas.microsoft.com/office/drawing/2014/main" id="{54CF336A-229F-433B-A9C7-49BD12107450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206375" y="4026067"/>
              <a:ext cx="734232" cy="0"/>
            </a:xfrm>
            <a:prstGeom prst="straightConnector1">
              <a:avLst/>
            </a:prstGeom>
            <a:ln w="38100" cap="rnd">
              <a:solidFill>
                <a:srgbClr val="0072BC"/>
              </a:solidFill>
              <a:prstDash val="sysDot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Прямоугольник 47">
              <a:extLst>
                <a:ext uri="{FF2B5EF4-FFF2-40B4-BE49-F238E27FC236}">
                  <a16:creationId xmlns="" xmlns:a16="http://schemas.microsoft.com/office/drawing/2014/main" id="{144F0594-D237-46FE-98C8-A59D114FBC62}"/>
                </a:ext>
              </a:extLst>
            </p:cNvPr>
            <p:cNvSpPr/>
            <p:nvPr/>
          </p:nvSpPr>
          <p:spPr>
            <a:xfrm>
              <a:off x="6662056" y="4597640"/>
              <a:ext cx="2024743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80000"/>
                </a:lnSpc>
                <a:tabLst>
                  <a:tab pos="113030" algn="l"/>
                </a:tabLst>
                <a:defRPr/>
              </a:pPr>
              <a:r>
                <a:rPr lang="ru-RU" sz="2000" b="1" dirty="0" smtClean="0">
                  <a:solidFill>
                    <a:prstClr val="black"/>
                  </a:solidFill>
                  <a:latin typeface="Times New Roman" pitchFamily="18" charset="0"/>
                  <a:cs typeface="Times New Roman" pitchFamily="18" charset="0"/>
                </a:rPr>
                <a:t>Учитель как коммуникатор, модератор, фасилитатор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49" name="Прямая со стрелкой 48">
              <a:extLst>
                <a:ext uri="{FF2B5EF4-FFF2-40B4-BE49-F238E27FC236}">
                  <a16:creationId xmlns="" xmlns:a16="http://schemas.microsoft.com/office/drawing/2014/main" id="{1C8E38E0-7B0D-4D47-B42F-508DE2A7470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920263" y="4026067"/>
              <a:ext cx="734232" cy="0"/>
            </a:xfrm>
            <a:prstGeom prst="straightConnector1">
              <a:avLst/>
            </a:prstGeom>
            <a:ln w="38100" cap="rnd">
              <a:solidFill>
                <a:srgbClr val="0072BC"/>
              </a:solidFill>
              <a:prstDash val="sysDot"/>
              <a:headEnd type="oval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0" name="Рисунок 49">
            <a:extLst>
              <a:ext uri="{FF2B5EF4-FFF2-40B4-BE49-F238E27FC236}">
                <a16:creationId xmlns="" xmlns:a16="http://schemas.microsoft.com/office/drawing/2014/main" id="{19F28650-5065-4CE2-95E3-689279EB0B1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5056" y="2164224"/>
            <a:ext cx="818461" cy="818461"/>
          </a:xfrm>
          <a:prstGeom prst="rect">
            <a:avLst/>
          </a:prstGeom>
        </p:spPr>
      </p:pic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0C7E2EEF-3100-43EA-8946-47EBC0F25A8C}"/>
              </a:ext>
            </a:extLst>
          </p:cNvPr>
          <p:cNvGrpSpPr/>
          <p:nvPr/>
        </p:nvGrpSpPr>
        <p:grpSpPr>
          <a:xfrm>
            <a:off x="3997234" y="1867989"/>
            <a:ext cx="1280159" cy="1436913"/>
            <a:chOff x="903779" y="5196174"/>
            <a:chExt cx="785096" cy="910711"/>
          </a:xfrm>
        </p:grpSpPr>
        <p:sp>
          <p:nvSpPr>
            <p:cNvPr id="18" name="Шестиугольник 17"/>
            <p:cNvSpPr/>
            <p:nvPr/>
          </p:nvSpPr>
          <p:spPr>
            <a:xfrm rot="16200000">
              <a:off x="840971" y="5258982"/>
              <a:ext cx="910711" cy="785096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="" xmlns:a16="http://schemas.microsoft.com/office/drawing/2014/main" id="{8F4364C8-ADDF-47EA-B996-5516D80A0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610" y="5408772"/>
              <a:ext cx="400875" cy="400875"/>
            </a:xfrm>
            <a:prstGeom prst="rect">
              <a:avLst/>
            </a:prstGeom>
          </p:spPr>
        </p:pic>
      </p:grpSp>
      <p:grpSp>
        <p:nvGrpSpPr>
          <p:cNvPr id="20" name="Группа 19">
            <a:extLst>
              <a:ext uri="{FF2B5EF4-FFF2-40B4-BE49-F238E27FC236}">
                <a16:creationId xmlns="" xmlns:a16="http://schemas.microsoft.com/office/drawing/2014/main" id="{FF8D04C9-E70F-418C-A5B0-292FE704F746}"/>
              </a:ext>
            </a:extLst>
          </p:cNvPr>
          <p:cNvGrpSpPr/>
          <p:nvPr/>
        </p:nvGrpSpPr>
        <p:grpSpPr>
          <a:xfrm>
            <a:off x="1240971" y="1881052"/>
            <a:ext cx="1423852" cy="1345474"/>
            <a:chOff x="903777" y="4021244"/>
            <a:chExt cx="785096" cy="910711"/>
          </a:xfrm>
        </p:grpSpPr>
        <p:sp>
          <p:nvSpPr>
            <p:cNvPr id="21" name="Шестиугольник 20"/>
            <p:cNvSpPr/>
            <p:nvPr/>
          </p:nvSpPr>
          <p:spPr>
            <a:xfrm rot="16200000">
              <a:off x="840969" y="4084052"/>
              <a:ext cx="910711" cy="785096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2" name="Рисунок 21">
              <a:extLst>
                <a:ext uri="{FF2B5EF4-FFF2-40B4-BE49-F238E27FC236}">
                  <a16:creationId xmlns="" xmlns:a16="http://schemas.microsoft.com/office/drawing/2014/main" id="{D7DE5A62-ACC0-4249-B3BE-9892787A23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703" y="4183694"/>
              <a:ext cx="524690" cy="524690"/>
            </a:xfrm>
            <a:prstGeom prst="rect">
              <a:avLst/>
            </a:prstGeom>
          </p:spPr>
        </p:pic>
      </p:grp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B7BCB33F-9588-40E0-9250-F0E8E7511795}"/>
              </a:ext>
            </a:extLst>
          </p:cNvPr>
          <p:cNvGrpSpPr/>
          <p:nvPr/>
        </p:nvGrpSpPr>
        <p:grpSpPr>
          <a:xfrm>
            <a:off x="6596743" y="1920240"/>
            <a:ext cx="1423851" cy="1371599"/>
            <a:chOff x="903777" y="2799125"/>
            <a:chExt cx="785096" cy="910711"/>
          </a:xfrm>
        </p:grpSpPr>
        <p:sp>
          <p:nvSpPr>
            <p:cNvPr id="27" name="Шестиугольник 26"/>
            <p:cNvSpPr/>
            <p:nvPr/>
          </p:nvSpPr>
          <p:spPr>
            <a:xfrm rot="16200000">
              <a:off x="840969" y="2861933"/>
              <a:ext cx="910711" cy="785096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8" name="Рисунок 27">
              <a:extLst>
                <a:ext uri="{FF2B5EF4-FFF2-40B4-BE49-F238E27FC236}">
                  <a16:creationId xmlns="" xmlns:a16="http://schemas.microsoft.com/office/drawing/2014/main" id="{B2E1A2C8-AFB5-4522-A86B-833DFAF3F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0092" y="3064963"/>
              <a:ext cx="440393" cy="4403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1079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Фигура"/>
          <p:cNvSpPr/>
          <p:nvPr/>
        </p:nvSpPr>
        <p:spPr>
          <a:xfrm>
            <a:off x="0" y="498581"/>
            <a:ext cx="10908812" cy="69164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" y="0"/>
                </a:moveTo>
                <a:lnTo>
                  <a:pt x="13688" y="0"/>
                </a:lnTo>
                <a:lnTo>
                  <a:pt x="21600" y="21600"/>
                </a:lnTo>
                <a:lnTo>
                  <a:pt x="0" y="21600"/>
                </a:lnTo>
                <a:lnTo>
                  <a:pt x="192" y="0"/>
                </a:lnTo>
                <a:close/>
              </a:path>
            </a:pathLst>
          </a:custGeom>
          <a:solidFill>
            <a:srgbClr val="1B328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  <p:sp>
        <p:nvSpPr>
          <p:cNvPr id="252" name="Треугольник"/>
          <p:cNvSpPr/>
          <p:nvPr/>
        </p:nvSpPr>
        <p:spPr>
          <a:xfrm>
            <a:off x="-130773" y="4814094"/>
            <a:ext cx="1212183" cy="20921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0072BC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  <p:sp>
        <p:nvSpPr>
          <p:cNvPr id="11" name="Развитие  сегмента  зубных паст"/>
          <p:cNvSpPr txBox="1"/>
          <p:nvPr/>
        </p:nvSpPr>
        <p:spPr>
          <a:xfrm>
            <a:off x="339635" y="2326772"/>
            <a:ext cx="7656286" cy="22672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1600">
                <a:solidFill>
                  <a:srgbClr val="00A2FF">
                    <a:lumOff val="16847"/>
                  </a:srgbClr>
                </a:solidFill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От преподавания — к изучению, от монолога — к интерактивному взаимодействию, от формулы «Учитель знает, чему учить» к формуле «Ученик выбирает, чему учиться»</a:t>
            </a:r>
          </a:p>
        </p:txBody>
      </p:sp>
      <p:sp>
        <p:nvSpPr>
          <p:cNvPr id="14" name="Еще больше  новых брендов"/>
          <p:cNvSpPr txBox="1"/>
          <p:nvPr/>
        </p:nvSpPr>
        <p:spPr>
          <a:xfrm>
            <a:off x="911225" y="5200299"/>
            <a:ext cx="51361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 lvl="0">
              <a:lnSpc>
                <a:spcPct val="90000"/>
              </a:lnSpc>
              <a:defRPr sz="7000" spc="140">
                <a:solidFill>
                  <a:srgbClr val="FFFFFF"/>
                </a:solidFill>
                <a:latin typeface="Muller Light"/>
                <a:ea typeface="Muller Light"/>
                <a:cs typeface="Muller Light"/>
                <a:sym typeface="Muller Light"/>
              </a:defRPr>
            </a:pPr>
            <a:endParaRPr lang="ru-RU" sz="2400" spc="14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Muller Light"/>
            </a:endParaRPr>
          </a:p>
        </p:txBody>
      </p:sp>
      <p:pic>
        <p:nvPicPr>
          <p:cNvPr id="16" name="Picture 2" descr="http://yspu.org/images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585" y="350131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1510" y="509653"/>
            <a:ext cx="1338560" cy="707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466690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73B56E19-834E-4F36-96F3-BA19D73599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755" y="3466010"/>
            <a:ext cx="4069754" cy="3391989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8160" y="3455173"/>
            <a:ext cx="4053840" cy="3391989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4000" y="-20320"/>
            <a:ext cx="4074160" cy="3449320"/>
          </a:xfrm>
          <a:prstGeom prst="rect">
            <a:avLst/>
          </a:prstGeom>
        </p:spPr>
      </p:pic>
      <p:sp>
        <p:nvSpPr>
          <p:cNvPr id="26" name="Равнобедренный треугольник 25"/>
          <p:cNvSpPr/>
          <p:nvPr/>
        </p:nvSpPr>
        <p:spPr>
          <a:xfrm>
            <a:off x="3941367" y="2939789"/>
            <a:ext cx="4196792" cy="50004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Равнобедренный треугольник 50"/>
          <p:cNvSpPr/>
          <p:nvPr/>
        </p:nvSpPr>
        <p:spPr>
          <a:xfrm flipV="1">
            <a:off x="8138159" y="3457970"/>
            <a:ext cx="4125318" cy="52622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Равнобедренный треугольник 51"/>
          <p:cNvSpPr/>
          <p:nvPr/>
        </p:nvSpPr>
        <p:spPr>
          <a:xfrm flipV="1">
            <a:off x="-37388" y="3455173"/>
            <a:ext cx="4196792" cy="50004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Группа 4">
            <a:extLst>
              <a:ext uri="{FF2B5EF4-FFF2-40B4-BE49-F238E27FC236}">
                <a16:creationId xmlns="" xmlns:a16="http://schemas.microsoft.com/office/drawing/2014/main" id="{F49C00BF-954B-4E82-9DF6-149309D9683E}"/>
              </a:ext>
            </a:extLst>
          </p:cNvPr>
          <p:cNvGrpSpPr/>
          <p:nvPr/>
        </p:nvGrpSpPr>
        <p:grpSpPr>
          <a:xfrm>
            <a:off x="5421086" y="3422469"/>
            <a:ext cx="1259346" cy="1110343"/>
            <a:chOff x="5393380" y="3428999"/>
            <a:chExt cx="1287052" cy="1492979"/>
          </a:xfrm>
        </p:grpSpPr>
        <p:sp>
          <p:nvSpPr>
            <p:cNvPr id="34" name="Шестиугольник 33"/>
            <p:cNvSpPr/>
            <p:nvPr/>
          </p:nvSpPr>
          <p:spPr>
            <a:xfrm rot="16200000">
              <a:off x="5290416" y="3531963"/>
              <a:ext cx="1492979" cy="1287052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46486" y="3750724"/>
              <a:ext cx="780837" cy="780837"/>
            </a:xfrm>
            <a:prstGeom prst="rect">
              <a:avLst/>
            </a:prstGeom>
          </p:spPr>
        </p:pic>
      </p:grp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199630DD-FEA1-41CD-A2C1-30CB4377746A}"/>
              </a:ext>
            </a:extLst>
          </p:cNvPr>
          <p:cNvSpPr/>
          <p:nvPr/>
        </p:nvSpPr>
        <p:spPr>
          <a:xfrm>
            <a:off x="4167051" y="4833258"/>
            <a:ext cx="390579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80000"/>
              </a:lnSpc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ФГОС: характер обучения и взаимодействия участников образовательного процесса — сотрудничество, деятельностный подход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6122C411-97D7-4E62-87AB-0759238C48B2}"/>
              </a:ext>
            </a:extLst>
          </p:cNvPr>
          <p:cNvSpPr/>
          <p:nvPr/>
        </p:nvSpPr>
        <p:spPr>
          <a:xfrm>
            <a:off x="8190411" y="1397727"/>
            <a:ext cx="400158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80000"/>
              </a:lnSpc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ФГОС: доминирующий компонент организации образовательного процесса — практико-ориентированная, исследовательская и проектная деятельность, основанная на проявлении самостоятельности, активности, творчестве учащихс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3" name="Группа 1">
            <a:extLst>
              <a:ext uri="{FF2B5EF4-FFF2-40B4-BE49-F238E27FC236}">
                <a16:creationId xmlns="" xmlns:a16="http://schemas.microsoft.com/office/drawing/2014/main" id="{CE07F744-397F-4D76-964E-3B3340B9ED00}"/>
              </a:ext>
            </a:extLst>
          </p:cNvPr>
          <p:cNvGrpSpPr/>
          <p:nvPr/>
        </p:nvGrpSpPr>
        <p:grpSpPr>
          <a:xfrm>
            <a:off x="1489165" y="300447"/>
            <a:ext cx="1231305" cy="1136468"/>
            <a:chOff x="1433419" y="331769"/>
            <a:chExt cx="1287052" cy="1492979"/>
          </a:xfrm>
        </p:grpSpPr>
        <p:sp>
          <p:nvSpPr>
            <p:cNvPr id="35" name="Шестиугольник 34"/>
            <p:cNvSpPr/>
            <p:nvPr/>
          </p:nvSpPr>
          <p:spPr>
            <a:xfrm rot="16200000">
              <a:off x="1330455" y="434733"/>
              <a:ext cx="1492979" cy="1287052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="" xmlns:a16="http://schemas.microsoft.com/office/drawing/2014/main" id="{212068CB-36A4-42E9-BC36-645361B81E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7084" y="788196"/>
              <a:ext cx="593563" cy="593563"/>
            </a:xfrm>
            <a:prstGeom prst="rect">
              <a:avLst/>
            </a:prstGeom>
          </p:spPr>
        </p:pic>
      </p:grpSp>
      <p:grpSp>
        <p:nvGrpSpPr>
          <p:cNvPr id="5" name="Группа 2">
            <a:extLst>
              <a:ext uri="{FF2B5EF4-FFF2-40B4-BE49-F238E27FC236}">
                <a16:creationId xmlns="" xmlns:a16="http://schemas.microsoft.com/office/drawing/2014/main" id="{6C1C06B7-4945-4DA4-ADFD-50FC9DD1857A}"/>
              </a:ext>
            </a:extLst>
          </p:cNvPr>
          <p:cNvGrpSpPr/>
          <p:nvPr/>
        </p:nvGrpSpPr>
        <p:grpSpPr>
          <a:xfrm>
            <a:off x="9405257" y="0"/>
            <a:ext cx="1345474" cy="1384664"/>
            <a:chOff x="9557293" y="355553"/>
            <a:chExt cx="1287052" cy="1492979"/>
          </a:xfrm>
        </p:grpSpPr>
        <p:sp>
          <p:nvSpPr>
            <p:cNvPr id="38" name="Шестиугольник 37"/>
            <p:cNvSpPr/>
            <p:nvPr/>
          </p:nvSpPr>
          <p:spPr>
            <a:xfrm rot="16200000">
              <a:off x="9454329" y="458517"/>
              <a:ext cx="1492979" cy="1287052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0" name="Рисунок 39">
              <a:extLst>
                <a:ext uri="{FF2B5EF4-FFF2-40B4-BE49-F238E27FC236}">
                  <a16:creationId xmlns="" xmlns:a16="http://schemas.microsoft.com/office/drawing/2014/main" id="{37F445CA-80C7-4748-B50E-400868FE2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04941" y="788196"/>
              <a:ext cx="710659" cy="710656"/>
            </a:xfrm>
            <a:prstGeom prst="rect">
              <a:avLst/>
            </a:prstGeom>
          </p:spPr>
        </p:pic>
      </p:grpSp>
      <p:sp>
        <p:nvSpPr>
          <p:cNvPr id="20" name="Прямоугольник 19"/>
          <p:cNvSpPr/>
          <p:nvPr/>
        </p:nvSpPr>
        <p:spPr>
          <a:xfrm>
            <a:off x="169817" y="1685109"/>
            <a:ext cx="376210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ФГОС: характер контроля — комплексная оценка образовательных результатов по трем группам (личностные, предметные, метапредметные)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468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9E5B74E8-C57A-144F-853A-C6D88DE64450}"/>
              </a:ext>
            </a:extLst>
          </p:cNvPr>
          <p:cNvSpPr txBox="1"/>
          <p:nvPr/>
        </p:nvSpPr>
        <p:spPr>
          <a:xfrm>
            <a:off x="485554" y="425748"/>
            <a:ext cx="104065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Компетенции</a:t>
            </a:r>
            <a:r>
              <a:rPr kumimoji="0" lang="ru-RU" sz="3200" b="1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современного учителя </a:t>
            </a:r>
          </a:p>
          <a:p>
            <a:pPr lvl="0">
              <a:defRPr/>
            </a:pPr>
            <a:r>
              <a:rPr kumimoji="0" lang="ru-RU" sz="3200" b="1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(на основе Профессионального стандарта)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Треугольник">
            <a:extLst>
              <a:ext uri="{FF2B5EF4-FFF2-40B4-BE49-F238E27FC236}">
                <a16:creationId xmlns="" xmlns:a16="http://schemas.microsoft.com/office/drawing/2014/main" id="{CFF42348-E17E-47D6-BF62-B01E2970FCA6}"/>
              </a:ext>
            </a:extLst>
          </p:cNvPr>
          <p:cNvSpPr/>
          <p:nvPr/>
        </p:nvSpPr>
        <p:spPr>
          <a:xfrm flipH="1" flipV="1">
            <a:off x="10979817" y="-21482"/>
            <a:ext cx="1212183" cy="20921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0072BC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sym typeface="Helvetica Neue Medium"/>
            </a:endParaRPr>
          </a:p>
        </p:txBody>
      </p:sp>
      <p:grpSp>
        <p:nvGrpSpPr>
          <p:cNvPr id="2" name="Группа 2">
            <a:extLst>
              <a:ext uri="{FF2B5EF4-FFF2-40B4-BE49-F238E27FC236}">
                <a16:creationId xmlns="" xmlns:a16="http://schemas.microsoft.com/office/drawing/2014/main" id="{3C9489DC-AB0B-456C-9C97-E26C5B284DAB}"/>
              </a:ext>
            </a:extLst>
          </p:cNvPr>
          <p:cNvGrpSpPr/>
          <p:nvPr/>
        </p:nvGrpSpPr>
        <p:grpSpPr>
          <a:xfrm>
            <a:off x="268940" y="1803058"/>
            <a:ext cx="11435379" cy="4599986"/>
            <a:chOff x="-177210" y="2182841"/>
            <a:chExt cx="12546419" cy="4009760"/>
          </a:xfrm>
        </p:grpSpPr>
        <p:sp>
          <p:nvSpPr>
            <p:cNvPr id="18" name="TextBox 17">
              <a:extLst>
                <a:ext uri="{FF2B5EF4-FFF2-40B4-BE49-F238E27FC236}">
                  <a16:creationId xmlns="" xmlns:a16="http://schemas.microsoft.com/office/drawing/2014/main" id="{4ED33A7F-3C36-0A45-9EA8-1DD6551CCDBD}"/>
                </a:ext>
              </a:extLst>
            </p:cNvPr>
            <p:cNvSpPr txBox="1"/>
            <p:nvPr/>
          </p:nvSpPr>
          <p:spPr>
            <a:xfrm>
              <a:off x="125413" y="4494353"/>
              <a:ext cx="2805977" cy="16982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defRPr/>
              </a:pPr>
              <a:r>
                <a:rPr lang="ru-RU" b="1" dirty="0" smtClean="0">
                  <a:latin typeface="Times New Roman" pitchFamily="18" charset="0"/>
                  <a:cs typeface="Times New Roman" pitchFamily="18" charset="0"/>
                </a:rPr>
                <a:t>Профессиональная</a:t>
              </a:r>
            </a:p>
            <a:p>
              <a:pPr lvl="0" algn="ctr">
                <a:lnSpc>
                  <a:spcPct val="90000"/>
                </a:lnSpc>
                <a:defRPr/>
              </a:pPr>
              <a:endParaRPr lang="ru-RU" b="1" dirty="0" smtClean="0">
                <a:latin typeface="Times New Roman" pitchFamily="18" charset="0"/>
                <a:cs typeface="Times New Roman" pitchFamily="18" charset="0"/>
              </a:endParaRPr>
            </a:p>
            <a:p>
              <a:pPr lvl="0" algn="ctr">
                <a:lnSpc>
                  <a:spcPct val="90000"/>
                </a:lnSpc>
                <a:defRPr/>
              </a:pP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понимание и внедрение в образовательный процесс современных технологий, владение способами педагогической диагностики, организация оценочно-ценностной рефлексии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="" xmlns:a16="http://schemas.microsoft.com/office/drawing/2014/main" id="{83EEAC02-5305-0049-A440-21E510305A6E}"/>
                </a:ext>
              </a:extLst>
            </p:cNvPr>
            <p:cNvSpPr txBox="1"/>
            <p:nvPr/>
          </p:nvSpPr>
          <p:spPr>
            <a:xfrm>
              <a:off x="3336699" y="4391873"/>
              <a:ext cx="2465244" cy="1311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defRPr/>
              </a:pPr>
              <a:r>
                <a:rPr lang="ru-RU" b="1" dirty="0" smtClean="0">
                  <a:latin typeface="Times New Roman" pitchFamily="18" charset="0"/>
                  <a:cs typeface="Times New Roman" pitchFamily="18" charset="0"/>
                </a:rPr>
                <a:t>Коммуникативная</a:t>
              </a:r>
            </a:p>
            <a:p>
              <a:pPr lvl="0" algn="ctr">
                <a:lnSpc>
                  <a:spcPct val="90000"/>
                </a:lnSpc>
                <a:defRPr/>
              </a:pPr>
              <a:endParaRPr lang="ru-RU" sz="1400" b="1" dirty="0" smtClean="0">
                <a:latin typeface="Times New Roman" pitchFamily="18" charset="0"/>
                <a:cs typeface="Times New Roman" pitchFamily="18" charset="0"/>
              </a:endParaRPr>
            </a:p>
            <a:p>
              <a:pPr lvl="0" algn="ctr">
                <a:lnSpc>
                  <a:spcPct val="90000"/>
                </a:lnSpc>
                <a:defRPr/>
              </a:pP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Навык разработки плана по выстраиванию отношений с людьми, объединять их для совместной работы над решением общих задач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="" xmlns:a16="http://schemas.microsoft.com/office/drawing/2014/main" id="{095E2F20-2920-6E47-AF16-92045456AD14}"/>
                </a:ext>
              </a:extLst>
            </p:cNvPr>
            <p:cNvSpPr txBox="1"/>
            <p:nvPr/>
          </p:nvSpPr>
          <p:spPr>
            <a:xfrm>
              <a:off x="6264033" y="4426032"/>
              <a:ext cx="2676631" cy="13602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defRPr/>
              </a:pPr>
              <a:r>
                <a:rPr lang="ru-RU" b="1" dirty="0" smtClean="0">
                  <a:latin typeface="Times New Roman" pitchFamily="18" charset="0"/>
                  <a:cs typeface="Times New Roman" pitchFamily="18" charset="0"/>
                </a:rPr>
                <a:t>Информационная</a:t>
              </a:r>
            </a:p>
            <a:p>
              <a:pPr lvl="0" algn="ctr">
                <a:lnSpc>
                  <a:spcPct val="90000"/>
                </a:lnSpc>
                <a:defRPr/>
              </a:pPr>
              <a:r>
                <a:rPr lang="ru-RU" dirty="0" smtClean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Результативный поиск, отбор нужной информации, её преображение под особенности образовательной программы и дидактических принципов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="" xmlns:a16="http://schemas.microsoft.com/office/drawing/2014/main" id="{2688EF73-AA38-424B-B38F-CBB541EA76B8}"/>
                </a:ext>
              </a:extLst>
            </p:cNvPr>
            <p:cNvSpPr txBox="1"/>
            <p:nvPr/>
          </p:nvSpPr>
          <p:spPr>
            <a:xfrm>
              <a:off x="9288616" y="4278006"/>
              <a:ext cx="2730526" cy="14809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defRPr/>
              </a:pPr>
              <a:r>
                <a:rPr lang="ru-RU" b="1" dirty="0" smtClean="0">
                  <a:latin typeface="Times New Roman" pitchFamily="18" charset="0"/>
                  <a:cs typeface="Times New Roman" pitchFamily="18" charset="0"/>
                </a:rPr>
                <a:t>Правовая</a:t>
              </a:r>
              <a:endParaRPr lang="ru-RU" dirty="0" smtClean="0">
                <a:latin typeface="Times New Roman" pitchFamily="18" charset="0"/>
                <a:cs typeface="Times New Roman" pitchFamily="18" charset="0"/>
              </a:endParaRPr>
            </a:p>
            <a:p>
              <a:pPr lvl="0" algn="ctr">
                <a:lnSpc>
                  <a:spcPct val="90000"/>
                </a:lnSpc>
                <a:defRPr/>
              </a:pP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Грамотное применение на занятиях законодательных и других нормативных правовых документов </a:t>
              </a:r>
              <a:r>
                <a:rPr lang="ru-RU" sz="1400" dirty="0" smtClean="0">
                  <a:solidFill>
                    <a:prstClr val="black"/>
                  </a:solidFill>
                  <a:latin typeface="Times New Roman" pitchFamily="18" charset="0"/>
                  <a:cs typeface="Times New Roman" pitchFamily="18" charset="0"/>
                </a:rPr>
                <a:t>Доступность </a:t>
              </a:r>
              <a:r>
                <a:rPr lang="ru-RU" sz="1400" dirty="0">
                  <a:solidFill>
                    <a:prstClr val="black"/>
                  </a:solidFill>
                  <a:latin typeface="Times New Roman" pitchFamily="18" charset="0"/>
                  <a:cs typeface="Times New Roman" pitchFamily="18" charset="0"/>
                </a:rPr>
                <a:t>понимания, соответствие терминологии ФГ, расширение тезауруса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47997564-BDDB-3944-9474-6D0725F65931}"/>
                </a:ext>
              </a:extLst>
            </p:cNvPr>
            <p:cNvSpPr txBox="1"/>
            <p:nvPr/>
          </p:nvSpPr>
          <p:spPr>
            <a:xfrm>
              <a:off x="9642613" y="4580516"/>
              <a:ext cx="2299158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ct val="90000"/>
                </a:lnSpc>
                <a:defRPr/>
              </a:pPr>
              <a:endParaRPr lang="ru-RU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" name="Группа 1">
              <a:extLst>
                <a:ext uri="{FF2B5EF4-FFF2-40B4-BE49-F238E27FC236}">
                  <a16:creationId xmlns="" xmlns:a16="http://schemas.microsoft.com/office/drawing/2014/main" id="{6F863A88-2744-4765-BAC3-A6361B63C9CC}"/>
                </a:ext>
              </a:extLst>
            </p:cNvPr>
            <p:cNvGrpSpPr/>
            <p:nvPr/>
          </p:nvGrpSpPr>
          <p:grpSpPr>
            <a:xfrm>
              <a:off x="-177210" y="2182841"/>
              <a:ext cx="12546419" cy="2127901"/>
              <a:chOff x="-177210" y="2182841"/>
              <a:chExt cx="12546419" cy="2127901"/>
            </a:xfrm>
          </p:grpSpPr>
          <p:sp>
            <p:nvSpPr>
              <p:cNvPr id="9" name="Документ 8">
                <a:extLst>
                  <a:ext uri="{FF2B5EF4-FFF2-40B4-BE49-F238E27FC236}">
                    <a16:creationId xmlns="" xmlns:a16="http://schemas.microsoft.com/office/drawing/2014/main" id="{6C779F2D-9998-0A45-862A-98FC45832BCE}"/>
                  </a:ext>
                </a:extLst>
              </p:cNvPr>
              <p:cNvSpPr/>
              <p:nvPr/>
            </p:nvSpPr>
            <p:spPr>
              <a:xfrm>
                <a:off x="3611020" y="2720972"/>
                <a:ext cx="1766230" cy="1589770"/>
              </a:xfrm>
              <a:prstGeom prst="flowChartDocument">
                <a:avLst/>
              </a:prstGeom>
              <a:solidFill>
                <a:srgbClr val="0072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" name="Документ 10">
                <a:extLst>
                  <a:ext uri="{FF2B5EF4-FFF2-40B4-BE49-F238E27FC236}">
                    <a16:creationId xmlns="" xmlns:a16="http://schemas.microsoft.com/office/drawing/2014/main" id="{1E769849-ABCF-3643-8D9B-BE0880779E5A}"/>
                  </a:ext>
                </a:extLst>
              </p:cNvPr>
              <p:cNvSpPr/>
              <p:nvPr/>
            </p:nvSpPr>
            <p:spPr>
              <a:xfrm>
                <a:off x="9712514" y="2694847"/>
                <a:ext cx="1694122" cy="1589770"/>
              </a:xfrm>
              <a:prstGeom prst="flowChartDocument">
                <a:avLst/>
              </a:prstGeom>
              <a:solidFill>
                <a:srgbClr val="0072B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" name="Документ 5">
                <a:extLst>
                  <a:ext uri="{FF2B5EF4-FFF2-40B4-BE49-F238E27FC236}">
                    <a16:creationId xmlns="" xmlns:a16="http://schemas.microsoft.com/office/drawing/2014/main" id="{B072AC22-1D31-E549-9798-14451E95AAD7}"/>
                  </a:ext>
                </a:extLst>
              </p:cNvPr>
              <p:cNvSpPr/>
              <p:nvPr/>
            </p:nvSpPr>
            <p:spPr>
              <a:xfrm>
                <a:off x="485555" y="2655658"/>
                <a:ext cx="1694122" cy="1589770"/>
              </a:xfrm>
              <a:prstGeom prst="flowChartDocument">
                <a:avLst/>
              </a:prstGeom>
              <a:solidFill>
                <a:srgbClr val="1B328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cxnSp>
            <p:nvCxnSpPr>
              <p:cNvPr id="8" name="Прямая соединительная линия 7">
                <a:extLst>
                  <a:ext uri="{FF2B5EF4-FFF2-40B4-BE49-F238E27FC236}">
                    <a16:creationId xmlns="" xmlns:a16="http://schemas.microsoft.com/office/drawing/2014/main" id="{1B6093B6-02D6-CB42-97F8-0271F59038D1}"/>
                  </a:ext>
                </a:extLst>
              </p:cNvPr>
              <p:cNvCxnSpPr/>
              <p:nvPr/>
            </p:nvCxnSpPr>
            <p:spPr>
              <a:xfrm>
                <a:off x="-177210" y="2664801"/>
                <a:ext cx="12546419" cy="0"/>
              </a:xfrm>
              <a:prstGeom prst="line">
                <a:avLst/>
              </a:prstGeom>
              <a:ln w="22225">
                <a:solidFill>
                  <a:srgbClr val="1B32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Документ 9">
                <a:extLst>
                  <a:ext uri="{FF2B5EF4-FFF2-40B4-BE49-F238E27FC236}">
                    <a16:creationId xmlns="" xmlns:a16="http://schemas.microsoft.com/office/drawing/2014/main" id="{83DC99EB-EBAF-9345-8FAC-4CF31C50B0EF}"/>
                  </a:ext>
                </a:extLst>
              </p:cNvPr>
              <p:cNvSpPr/>
              <p:nvPr/>
            </p:nvSpPr>
            <p:spPr>
              <a:xfrm>
                <a:off x="6828449" y="2707909"/>
                <a:ext cx="1694122" cy="1589770"/>
              </a:xfrm>
              <a:prstGeom prst="flowChartDocument">
                <a:avLst/>
              </a:prstGeom>
              <a:solidFill>
                <a:srgbClr val="1B328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="" xmlns:a16="http://schemas.microsoft.com/office/drawing/2014/main" id="{683B01BE-A57D-C94D-B1A5-DE81F98FEB7B}"/>
                  </a:ext>
                </a:extLst>
              </p:cNvPr>
              <p:cNvSpPr txBox="1"/>
              <p:nvPr/>
            </p:nvSpPr>
            <p:spPr>
              <a:xfrm>
                <a:off x="569710" y="2182841"/>
                <a:ext cx="765003" cy="4560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К</a:t>
                </a:r>
                <a:r>
                  <a:rPr kumimoji="0" lang="ru-RU" sz="2800" b="1" i="0" u="none" strike="noStrike" kern="120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 </a:t>
                </a:r>
                <a:r>
                  <a:rPr kumimoji="0" lang="ru-RU" sz="2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1</a:t>
                </a:r>
                <a:endPara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="" xmlns:a16="http://schemas.microsoft.com/office/drawing/2014/main" id="{33B4BD55-49BA-4141-8E12-6DDAA7FD4169}"/>
                  </a:ext>
                </a:extLst>
              </p:cNvPr>
              <p:cNvSpPr txBox="1"/>
              <p:nvPr/>
            </p:nvSpPr>
            <p:spPr>
              <a:xfrm>
                <a:off x="3584893" y="2182841"/>
                <a:ext cx="1985553" cy="4560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defRPr/>
                </a:pPr>
                <a:r>
                  <a:rPr lang="ru-RU" sz="2800" b="1" dirty="0" smtClean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rPr>
                  <a:t>К 2</a:t>
                </a:r>
                <a:endPara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="" xmlns:a16="http://schemas.microsoft.com/office/drawing/2014/main" id="{E0E85321-3469-E74D-A5E3-6A14FA65022C}"/>
                  </a:ext>
                </a:extLst>
              </p:cNvPr>
              <p:cNvSpPr txBox="1"/>
              <p:nvPr/>
            </p:nvSpPr>
            <p:spPr>
              <a:xfrm>
                <a:off x="6968173" y="2182841"/>
                <a:ext cx="1489165" cy="4560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defRPr/>
                </a:pPr>
                <a:r>
                  <a:rPr lang="ru-RU" sz="2800" b="1" dirty="0" smtClean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rPr>
                  <a:t>К 3</a:t>
                </a:r>
                <a:endPara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="" xmlns:a16="http://schemas.microsoft.com/office/drawing/2014/main" id="{46FCAFF2-EB2B-D44B-838F-0935FCB67000}"/>
                  </a:ext>
                </a:extLst>
              </p:cNvPr>
              <p:cNvSpPr txBox="1"/>
              <p:nvPr/>
            </p:nvSpPr>
            <p:spPr>
              <a:xfrm flipH="1">
                <a:off x="10019210" y="2233749"/>
                <a:ext cx="1201782" cy="4560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defRPr/>
                </a:pPr>
                <a:r>
                  <a:rPr lang="ru-RU" sz="2800" b="1" dirty="0" smtClean="0">
                    <a:solidFill>
                      <a:prstClr val="black"/>
                    </a:solidFill>
                    <a:latin typeface="Times New Roman" pitchFamily="18" charset="0"/>
                    <a:cs typeface="Times New Roman" pitchFamily="18" charset="0"/>
                  </a:rPr>
                  <a:t>К 4</a:t>
                </a:r>
                <a:endPara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="" xmlns:a16="http://schemas.microsoft.com/office/drawing/2014/main" id="{E6E5D709-4B0E-7A4A-830C-9C0FEF9E686B}"/>
                  </a:ext>
                </a:extLst>
              </p:cNvPr>
              <p:cNvSpPr txBox="1"/>
              <p:nvPr/>
            </p:nvSpPr>
            <p:spPr>
              <a:xfrm>
                <a:off x="10008078" y="2182841"/>
                <a:ext cx="638799" cy="3487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>
                  <a:defRPr/>
                </a:pP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8" name="Рисунок 47">
                <a:extLst>
                  <a:ext uri="{FF2B5EF4-FFF2-40B4-BE49-F238E27FC236}">
                    <a16:creationId xmlns="" xmlns:a16="http://schemas.microsoft.com/office/drawing/2014/main" id="{7BD067AC-E252-4805-8F3A-BC1F2BAD4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12670" y="3050575"/>
                <a:ext cx="677200" cy="677200"/>
              </a:xfrm>
              <a:prstGeom prst="rect">
                <a:avLst/>
              </a:prstGeom>
            </p:spPr>
          </p:pic>
          <p:pic>
            <p:nvPicPr>
              <p:cNvPr id="49" name="Рисунок 4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2908" y="3035955"/>
                <a:ext cx="678872" cy="678872"/>
              </a:xfrm>
              <a:prstGeom prst="rect">
                <a:avLst/>
              </a:prstGeom>
            </p:spPr>
          </p:pic>
          <p:pic>
            <p:nvPicPr>
              <p:cNvPr id="36" name="Рисунок 35">
                <a:extLst>
                  <a:ext uri="{FF2B5EF4-FFF2-40B4-BE49-F238E27FC236}">
                    <a16:creationId xmlns="" xmlns:a16="http://schemas.microsoft.com/office/drawing/2014/main" id="{C571BB41-B5DA-424E-BE50-BD7AF21CF0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55660" y="2955394"/>
                <a:ext cx="677200" cy="677200"/>
              </a:xfrm>
              <a:prstGeom prst="rect">
                <a:avLst/>
              </a:prstGeom>
            </p:spPr>
          </p:pic>
          <p:pic>
            <p:nvPicPr>
              <p:cNvPr id="37" name="Рисунок 36">
                <a:extLst>
                  <a:ext uri="{FF2B5EF4-FFF2-40B4-BE49-F238E27FC236}">
                    <a16:creationId xmlns="" xmlns:a16="http://schemas.microsoft.com/office/drawing/2014/main" id="{81D28D6A-9FDB-4A61-94AC-36F2331E86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43242" y="3018531"/>
                <a:ext cx="677200" cy="677200"/>
              </a:xfrm>
              <a:prstGeom prst="rect">
                <a:avLst/>
              </a:prstGeom>
            </p:spPr>
          </p:pic>
        </p:grpSp>
      </p:grpSp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F6252DE7-7CE7-41B3-BC67-541AAE476DD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/>
          </a:blip>
          <a:stretch>
            <a:fillRect/>
          </a:stretch>
        </p:blipFill>
        <p:spPr>
          <a:xfrm>
            <a:off x="4196171" y="2316208"/>
            <a:ext cx="677200" cy="67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7011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7002684" y="0"/>
            <a:ext cx="5189317" cy="6858000"/>
          </a:xfrm>
          <a:prstGeom prst="rect">
            <a:avLst/>
          </a:prstGeom>
          <a:solidFill>
            <a:srgbClr val="1B32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Равнобедренный треугольник 15"/>
          <p:cNvSpPr/>
          <p:nvPr/>
        </p:nvSpPr>
        <p:spPr>
          <a:xfrm rot="5400000">
            <a:off x="3693479" y="3029645"/>
            <a:ext cx="7387288" cy="792031"/>
          </a:xfrm>
          <a:prstGeom prst="triangle">
            <a:avLst>
              <a:gd name="adj" fmla="val 4966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9591445C-F26A-4926-823F-99224E4873EA}"/>
              </a:ext>
            </a:extLst>
          </p:cNvPr>
          <p:cNvSpPr/>
          <p:nvPr/>
        </p:nvSpPr>
        <p:spPr>
          <a:xfrm>
            <a:off x="274319" y="235131"/>
            <a:ext cx="68057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ни функциональной грамотности учителя</a:t>
            </a:r>
            <a:endParaRPr lang="ru-RU" sz="4000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7811589" y="2241695"/>
            <a:ext cx="4180114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КАК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ОЦЕНИТЬ ФУНКЦИОНАЛЬНУЮ ГРАМОТНОСТЬ УЧИТЕЛЯ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Шестиугольник 37"/>
          <p:cNvSpPr/>
          <p:nvPr/>
        </p:nvSpPr>
        <p:spPr>
          <a:xfrm rot="5400000">
            <a:off x="9977183" y="-948464"/>
            <a:ext cx="2926505" cy="2522848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Шестиугольник 38"/>
          <p:cNvSpPr/>
          <p:nvPr/>
        </p:nvSpPr>
        <p:spPr>
          <a:xfrm rot="5400000">
            <a:off x="10242125" y="-728012"/>
            <a:ext cx="2396619" cy="2066051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Шестиугольник 39"/>
          <p:cNvSpPr/>
          <p:nvPr/>
        </p:nvSpPr>
        <p:spPr>
          <a:xfrm rot="5400000">
            <a:off x="10955426" y="5747113"/>
            <a:ext cx="1637108" cy="1411299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Шестиугольник 40"/>
          <p:cNvSpPr/>
          <p:nvPr/>
        </p:nvSpPr>
        <p:spPr>
          <a:xfrm rot="5400000">
            <a:off x="11176129" y="5945754"/>
            <a:ext cx="1238437" cy="1067618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Шестиугольник 41"/>
          <p:cNvSpPr/>
          <p:nvPr/>
        </p:nvSpPr>
        <p:spPr>
          <a:xfrm rot="5400000">
            <a:off x="-504630" y="6164204"/>
            <a:ext cx="1288839" cy="1111068"/>
          </a:xfrm>
          <a:prstGeom prst="hexagon">
            <a:avLst/>
          </a:prstGeom>
          <a:noFill/>
          <a:ln w="38100">
            <a:solidFill>
              <a:srgbClr val="1B328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Шестиугольник 42"/>
          <p:cNvSpPr/>
          <p:nvPr/>
        </p:nvSpPr>
        <p:spPr>
          <a:xfrm rot="5400000">
            <a:off x="-373912" y="6312250"/>
            <a:ext cx="968210" cy="834664"/>
          </a:xfrm>
          <a:prstGeom prst="hexagon">
            <a:avLst/>
          </a:prstGeom>
          <a:noFill/>
          <a:ln w="38100">
            <a:solidFill>
              <a:srgbClr val="1B328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Группа 2">
            <a:extLst>
              <a:ext uri="{FF2B5EF4-FFF2-40B4-BE49-F238E27FC236}">
                <a16:creationId xmlns="" xmlns:a16="http://schemas.microsoft.com/office/drawing/2014/main" id="{F6EC7D30-44B4-410E-84C4-085DB7833872}"/>
              </a:ext>
            </a:extLst>
          </p:cNvPr>
          <p:cNvGrpSpPr/>
          <p:nvPr/>
        </p:nvGrpSpPr>
        <p:grpSpPr>
          <a:xfrm>
            <a:off x="195943" y="2725737"/>
            <a:ext cx="7008090" cy="3919456"/>
            <a:chOff x="195943" y="2725737"/>
            <a:chExt cx="7008090" cy="3919456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195943" y="4336869"/>
              <a:ext cx="2442754" cy="23083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80000"/>
                </a:lnSpc>
                <a:tabLst>
                  <a:tab pos="113030" algn="l"/>
                </a:tabLst>
                <a:defRPr/>
              </a:pPr>
              <a:r>
                <a:rPr lang="ru-RU" sz="2000" b="1" dirty="0" smtClean="0"/>
                <a:t>Личностно-профессиональный</a:t>
              </a:r>
              <a:r>
                <a:rPr lang="ru-RU" sz="2000" dirty="0" smtClean="0"/>
                <a:t> - пригодность для работы в сфере образования, деятельность по реализации педагогического процесса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32C67A19-8933-47A1-B383-1504021E8B55}"/>
                </a:ext>
              </a:extLst>
            </p:cNvPr>
            <p:cNvSpPr/>
            <p:nvPr/>
          </p:nvSpPr>
          <p:spPr>
            <a:xfrm>
              <a:off x="2612571" y="4490519"/>
              <a:ext cx="2377439" cy="20621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80000"/>
                </a:lnSpc>
                <a:tabLst>
                  <a:tab pos="113030" algn="l"/>
                </a:tabLst>
                <a:defRPr/>
              </a:pPr>
              <a:r>
                <a:rPr lang="ru-RU" sz="2000" b="1" dirty="0" smtClean="0"/>
                <a:t>Профессионально-технический</a:t>
              </a:r>
              <a:r>
                <a:rPr lang="ru-RU" sz="2000" dirty="0" smtClean="0"/>
                <a:t> - знания, умения и навыки, современных образовательных и информационных технологий 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A9034C46-046B-450E-A030-6EB09C0A3F7D}"/>
                </a:ext>
              </a:extLst>
            </p:cNvPr>
            <p:cNvSpPr/>
            <p:nvPr/>
          </p:nvSpPr>
          <p:spPr>
            <a:xfrm>
              <a:off x="4911635" y="4284617"/>
              <a:ext cx="2292398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80000"/>
                </a:lnSpc>
                <a:tabLst>
                  <a:tab pos="113030" algn="l"/>
                </a:tabLst>
                <a:defRPr/>
              </a:pPr>
              <a:r>
                <a:rPr lang="ru-RU" sz="2000" b="1" dirty="0" smtClean="0"/>
                <a:t>Личностный </a:t>
              </a:r>
              <a:r>
                <a:rPr lang="ru-RU" sz="2000" dirty="0" smtClean="0"/>
                <a:t>- комплекс устойчивых личностных качеств и стиль преподавания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grpSp>
          <p:nvGrpSpPr>
            <p:cNvPr id="3" name="Группа 1">
              <a:extLst>
                <a:ext uri="{FF2B5EF4-FFF2-40B4-BE49-F238E27FC236}">
                  <a16:creationId xmlns="" xmlns:a16="http://schemas.microsoft.com/office/drawing/2014/main" id="{C71775E0-6908-4613-9A38-C1478C33BE25}"/>
                </a:ext>
              </a:extLst>
            </p:cNvPr>
            <p:cNvGrpSpPr/>
            <p:nvPr/>
          </p:nvGrpSpPr>
          <p:grpSpPr>
            <a:xfrm>
              <a:off x="803979" y="2725737"/>
              <a:ext cx="6023538" cy="1527409"/>
              <a:chOff x="803979" y="2725737"/>
              <a:chExt cx="6023538" cy="1527409"/>
            </a:xfrm>
          </p:grpSpPr>
          <p:sp>
            <p:nvSpPr>
              <p:cNvPr id="46" name="Шестиугольник 45"/>
              <p:cNvSpPr/>
              <p:nvPr/>
            </p:nvSpPr>
            <p:spPr>
              <a:xfrm rot="16200000">
                <a:off x="701015" y="2863131"/>
                <a:ext cx="1492979" cy="1287052"/>
              </a:xfrm>
              <a:prstGeom prst="hexagon">
                <a:avLst>
                  <a:gd name="adj" fmla="val 35345"/>
                  <a:gd name="vf" fmla="val 115470"/>
                </a:avLst>
              </a:prstGeom>
              <a:solidFill>
                <a:srgbClr val="0072BC"/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Шестиугольник 47"/>
              <p:cNvSpPr/>
              <p:nvPr/>
            </p:nvSpPr>
            <p:spPr>
              <a:xfrm rot="16200000">
                <a:off x="3140052" y="2828701"/>
                <a:ext cx="1492979" cy="1287052"/>
              </a:xfrm>
              <a:prstGeom prst="hexagon">
                <a:avLst>
                  <a:gd name="adj" fmla="val 35345"/>
                  <a:gd name="vf" fmla="val 115470"/>
                </a:avLst>
              </a:prstGeom>
              <a:solidFill>
                <a:srgbClr val="0072BC"/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9" name="Рисунок 48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96582" y="3137561"/>
                <a:ext cx="780857" cy="780857"/>
              </a:xfrm>
              <a:prstGeom prst="rect">
                <a:avLst/>
              </a:prstGeom>
            </p:spPr>
          </p:pic>
          <p:sp>
            <p:nvSpPr>
              <p:cNvPr id="51" name="Шестиугольник 50"/>
              <p:cNvSpPr/>
              <p:nvPr/>
            </p:nvSpPr>
            <p:spPr>
              <a:xfrm rot="16200000">
                <a:off x="5437501" y="2828701"/>
                <a:ext cx="1492979" cy="1287052"/>
              </a:xfrm>
              <a:prstGeom prst="hexagon">
                <a:avLst>
                  <a:gd name="adj" fmla="val 35345"/>
                  <a:gd name="vf" fmla="val 115470"/>
                </a:avLst>
              </a:prstGeom>
              <a:solidFill>
                <a:srgbClr val="0072BC"/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2" name="Прямая со стрелкой 31">
                <a:extLst>
                  <a:ext uri="{FF2B5EF4-FFF2-40B4-BE49-F238E27FC236}">
                    <a16:creationId xmlns="" xmlns:a16="http://schemas.microsoft.com/office/drawing/2014/main" id="{0ACD9C09-9671-47FD-966F-7C9E9ACD03B0}"/>
                  </a:ext>
                </a:extLst>
              </p:cNvPr>
              <p:cNvCxnSpPr/>
              <p:nvPr/>
            </p:nvCxnSpPr>
            <p:spPr>
              <a:xfrm>
                <a:off x="2322642" y="3514439"/>
                <a:ext cx="734232" cy="0"/>
              </a:xfrm>
              <a:prstGeom prst="straightConnector1">
                <a:avLst/>
              </a:prstGeom>
              <a:ln w="38100" cap="rnd">
                <a:solidFill>
                  <a:srgbClr val="0072BC"/>
                </a:solidFill>
                <a:prstDash val="sysDot"/>
                <a:headEnd type="oval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 стрелкой 32">
                <a:extLst>
                  <a:ext uri="{FF2B5EF4-FFF2-40B4-BE49-F238E27FC236}">
                    <a16:creationId xmlns="" xmlns:a16="http://schemas.microsoft.com/office/drawing/2014/main" id="{4A31F0AA-FD86-49E1-BE89-449ADCB7828D}"/>
                  </a:ext>
                </a:extLst>
              </p:cNvPr>
              <p:cNvCxnSpPr/>
              <p:nvPr/>
            </p:nvCxnSpPr>
            <p:spPr>
              <a:xfrm>
                <a:off x="4692948" y="3504223"/>
                <a:ext cx="734232" cy="0"/>
              </a:xfrm>
              <a:prstGeom prst="straightConnector1">
                <a:avLst/>
              </a:prstGeom>
              <a:ln w="38100" cap="rnd">
                <a:solidFill>
                  <a:srgbClr val="0072BC"/>
                </a:solidFill>
                <a:prstDash val="sysDot"/>
                <a:headEnd type="oval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4" name="Рисунок 33">
                <a:extLst>
                  <a:ext uri="{FF2B5EF4-FFF2-40B4-BE49-F238E27FC236}">
                    <a16:creationId xmlns="" xmlns:a16="http://schemas.microsoft.com/office/drawing/2014/main" id="{22C48A95-21E3-4218-BC7C-7F57B870EC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00220" y="3080400"/>
                <a:ext cx="741991" cy="741991"/>
              </a:xfrm>
              <a:prstGeom prst="rect">
                <a:avLst/>
              </a:prstGeom>
            </p:spPr>
          </p:pic>
          <p:pic>
            <p:nvPicPr>
              <p:cNvPr id="35" name="Рисунок 34">
                <a:extLst>
                  <a:ext uri="{FF2B5EF4-FFF2-40B4-BE49-F238E27FC236}">
                    <a16:creationId xmlns="" xmlns:a16="http://schemas.microsoft.com/office/drawing/2014/main" id="{68EE89DE-ADAC-4CF3-A4C7-EB48C26060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45814" y="3106098"/>
                <a:ext cx="711808" cy="71180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354876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13510" y="226593"/>
            <a:ext cx="86214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знаки оценки функциональной </a:t>
            </a:r>
          </a:p>
          <a:p>
            <a:pPr lvl="0">
              <a:defRPr/>
            </a:pPr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рамотности учителя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828800" y="1489166"/>
            <a:ext cx="821011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Компетентности в разработке и создании плана занятия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: высокая скорость работы, умение удерживать или переводить внимание обучающихся, применение различных форм подачи информации: через фото, видео, аудио, компьютер</a:t>
            </a:r>
          </a:p>
        </p:txBody>
      </p:sp>
      <p:sp>
        <p:nvSpPr>
          <p:cNvPr id="22" name="Шестиугольник 21"/>
          <p:cNvSpPr/>
          <p:nvPr/>
        </p:nvSpPr>
        <p:spPr>
          <a:xfrm rot="16200000">
            <a:off x="9866670" y="4997686"/>
            <a:ext cx="2497577" cy="2153084"/>
          </a:xfrm>
          <a:prstGeom prst="hexagon">
            <a:avLst>
              <a:gd name="adj" fmla="val 35345"/>
              <a:gd name="vf" fmla="val 115470"/>
            </a:avLst>
          </a:prstGeom>
          <a:solidFill>
            <a:srgbClr val="0072BC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920240" y="3344092"/>
            <a:ext cx="81186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Компетентность в руководительстве классо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: высокий уровень активности учащихся, многообразие форм обучения и заданий, совместная деятельность педагога с детьм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789611" y="4549676"/>
            <a:ext cx="84255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Организация условий и применение способов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, которые дают возможность ученикам максимально принимать участие в образовательном процессе, проявлять самостоятельность: индивидуальные задания в коллективе и в паре, эмоциональная вовлечённость учащихся, выстраивание взаимоотношений в класс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9" name="Шестиугольник 58"/>
          <p:cNvSpPr/>
          <p:nvPr/>
        </p:nvSpPr>
        <p:spPr>
          <a:xfrm rot="16200000">
            <a:off x="9610024" y="-731335"/>
            <a:ext cx="3365832" cy="2901580"/>
          </a:xfrm>
          <a:prstGeom prst="hexagon">
            <a:avLst>
              <a:gd name="adj" fmla="val 35345"/>
              <a:gd name="vf" fmla="val 115470"/>
            </a:avLst>
          </a:prstGeom>
          <a:solidFill>
            <a:srgbClr val="1B328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Группа 2">
            <a:extLst>
              <a:ext uri="{FF2B5EF4-FFF2-40B4-BE49-F238E27FC236}">
                <a16:creationId xmlns="" xmlns:a16="http://schemas.microsoft.com/office/drawing/2014/main" id="{FF8D04C9-E70F-418C-A5B0-292FE704F746}"/>
              </a:ext>
            </a:extLst>
          </p:cNvPr>
          <p:cNvGrpSpPr/>
          <p:nvPr/>
        </p:nvGrpSpPr>
        <p:grpSpPr>
          <a:xfrm>
            <a:off x="903778" y="3185221"/>
            <a:ext cx="785096" cy="910711"/>
            <a:chOff x="903777" y="4021244"/>
            <a:chExt cx="785096" cy="910711"/>
          </a:xfrm>
        </p:grpSpPr>
        <p:sp>
          <p:nvSpPr>
            <p:cNvPr id="29" name="Шестиугольник 28"/>
            <p:cNvSpPr/>
            <p:nvPr/>
          </p:nvSpPr>
          <p:spPr>
            <a:xfrm rot="16200000">
              <a:off x="840969" y="4084052"/>
              <a:ext cx="910711" cy="785096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8" name="Рисунок 57">
              <a:extLst>
                <a:ext uri="{FF2B5EF4-FFF2-40B4-BE49-F238E27FC236}">
                  <a16:creationId xmlns="" xmlns:a16="http://schemas.microsoft.com/office/drawing/2014/main" id="{D7DE5A62-ACC0-4249-B3BE-9892787A23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703" y="4183694"/>
              <a:ext cx="524690" cy="524690"/>
            </a:xfrm>
            <a:prstGeom prst="rect">
              <a:avLst/>
            </a:prstGeom>
          </p:spPr>
        </p:pic>
      </p:grpSp>
      <p:grpSp>
        <p:nvGrpSpPr>
          <p:cNvPr id="3" name="Группа 1">
            <a:extLst>
              <a:ext uri="{FF2B5EF4-FFF2-40B4-BE49-F238E27FC236}">
                <a16:creationId xmlns="" xmlns:a16="http://schemas.microsoft.com/office/drawing/2014/main" id="{0C7E2EEF-3100-43EA-8946-47EBC0F25A8C}"/>
              </a:ext>
            </a:extLst>
          </p:cNvPr>
          <p:cNvGrpSpPr/>
          <p:nvPr/>
        </p:nvGrpSpPr>
        <p:grpSpPr>
          <a:xfrm>
            <a:off x="864591" y="4738974"/>
            <a:ext cx="785096" cy="910711"/>
            <a:chOff x="903779" y="5196174"/>
            <a:chExt cx="785096" cy="910711"/>
          </a:xfrm>
        </p:grpSpPr>
        <p:sp>
          <p:nvSpPr>
            <p:cNvPr id="30" name="Шестиугольник 29"/>
            <p:cNvSpPr/>
            <p:nvPr/>
          </p:nvSpPr>
          <p:spPr>
            <a:xfrm rot="16200000">
              <a:off x="840971" y="5258982"/>
              <a:ext cx="910711" cy="785096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0" name="Рисунок 59">
              <a:extLst>
                <a:ext uri="{FF2B5EF4-FFF2-40B4-BE49-F238E27FC236}">
                  <a16:creationId xmlns="" xmlns:a16="http://schemas.microsoft.com/office/drawing/2014/main" id="{8F4364C8-ADDF-47EA-B996-5516D80A0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610" y="5408772"/>
              <a:ext cx="400875" cy="400875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167BC390-AD9A-4679-B2BD-B871DB9E4877}"/>
              </a:ext>
            </a:extLst>
          </p:cNvPr>
          <p:cNvGrpSpPr/>
          <p:nvPr/>
        </p:nvGrpSpPr>
        <p:grpSpPr>
          <a:xfrm>
            <a:off x="903776" y="1591614"/>
            <a:ext cx="785096" cy="910711"/>
            <a:chOff x="903776" y="1591614"/>
            <a:chExt cx="785096" cy="910711"/>
          </a:xfrm>
        </p:grpSpPr>
        <p:sp>
          <p:nvSpPr>
            <p:cNvPr id="27" name="Шестиугольник 26"/>
            <p:cNvSpPr/>
            <p:nvPr/>
          </p:nvSpPr>
          <p:spPr>
            <a:xfrm rot="16200000">
              <a:off x="840968" y="1654422"/>
              <a:ext cx="910711" cy="785096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2" name="Рисунок 61">
              <a:extLst>
                <a:ext uri="{FF2B5EF4-FFF2-40B4-BE49-F238E27FC236}">
                  <a16:creationId xmlns="" xmlns:a16="http://schemas.microsoft.com/office/drawing/2014/main" id="{81E565DC-19BD-4317-9038-C2CE51E849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610" y="1854588"/>
              <a:ext cx="383232" cy="3832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03846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8678394" y="0"/>
            <a:ext cx="3513606" cy="6858000"/>
          </a:xfrm>
          <a:prstGeom prst="rect">
            <a:avLst/>
          </a:prstGeom>
          <a:solidFill>
            <a:srgbClr val="1B32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Равнобедренный треугольник 15"/>
          <p:cNvSpPr/>
          <p:nvPr/>
        </p:nvSpPr>
        <p:spPr>
          <a:xfrm rot="5400000">
            <a:off x="5380767" y="3029645"/>
            <a:ext cx="7387288" cy="792031"/>
          </a:xfrm>
          <a:prstGeom prst="triangle">
            <a:avLst>
              <a:gd name="adj" fmla="val 4966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Шестиугольник 37"/>
          <p:cNvSpPr/>
          <p:nvPr/>
        </p:nvSpPr>
        <p:spPr>
          <a:xfrm rot="5400000">
            <a:off x="9977183" y="-948464"/>
            <a:ext cx="2926505" cy="2522848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Шестиугольник 38"/>
          <p:cNvSpPr/>
          <p:nvPr/>
        </p:nvSpPr>
        <p:spPr>
          <a:xfrm rot="5400000">
            <a:off x="10242125" y="-728012"/>
            <a:ext cx="2396619" cy="2066051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Шестиугольник 39"/>
          <p:cNvSpPr/>
          <p:nvPr/>
        </p:nvSpPr>
        <p:spPr>
          <a:xfrm rot="5400000">
            <a:off x="10955426" y="5747113"/>
            <a:ext cx="1637108" cy="1411299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Шестиугольник 40"/>
          <p:cNvSpPr/>
          <p:nvPr/>
        </p:nvSpPr>
        <p:spPr>
          <a:xfrm rot="5400000">
            <a:off x="11176129" y="5945754"/>
            <a:ext cx="1238437" cy="1067618"/>
          </a:xfrm>
          <a:prstGeom prst="hexagon">
            <a:avLst/>
          </a:prstGeom>
          <a:noFill/>
          <a:ln w="381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Группа 2">
            <a:extLst>
              <a:ext uri="{FF2B5EF4-FFF2-40B4-BE49-F238E27FC236}">
                <a16:creationId xmlns="" xmlns:a16="http://schemas.microsoft.com/office/drawing/2014/main" id="{0A576BC0-D9A2-46DA-A46C-4337B0B42B6F}"/>
              </a:ext>
            </a:extLst>
          </p:cNvPr>
          <p:cNvGrpSpPr/>
          <p:nvPr/>
        </p:nvGrpSpPr>
        <p:grpSpPr>
          <a:xfrm>
            <a:off x="864123" y="2173886"/>
            <a:ext cx="1021595" cy="1185049"/>
            <a:chOff x="903311" y="1612183"/>
            <a:chExt cx="1021595" cy="1185049"/>
          </a:xfrm>
        </p:grpSpPr>
        <p:sp>
          <p:nvSpPr>
            <p:cNvPr id="46" name="Шестиугольник 45"/>
            <p:cNvSpPr/>
            <p:nvPr/>
          </p:nvSpPr>
          <p:spPr>
            <a:xfrm rot="16200000">
              <a:off x="821584" y="1693910"/>
              <a:ext cx="1185049" cy="1021595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7" name="Рисунок 26">
              <a:extLst>
                <a:ext uri="{FF2B5EF4-FFF2-40B4-BE49-F238E27FC236}">
                  <a16:creationId xmlns="" xmlns:a16="http://schemas.microsoft.com/office/drawing/2014/main" id="{470FA915-DABC-44B1-B252-4961CEAF3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6611" y="1967211"/>
              <a:ext cx="474991" cy="474991"/>
            </a:xfrm>
            <a:prstGeom prst="rect">
              <a:avLst/>
            </a:prstGeom>
          </p:spPr>
        </p:pic>
      </p:grpSp>
      <p:grpSp>
        <p:nvGrpSpPr>
          <p:cNvPr id="3" name="Группа 3">
            <a:extLst>
              <a:ext uri="{FF2B5EF4-FFF2-40B4-BE49-F238E27FC236}">
                <a16:creationId xmlns="" xmlns:a16="http://schemas.microsoft.com/office/drawing/2014/main" id="{A9F89130-E50B-4F6F-9559-B74CDA4F11C9}"/>
              </a:ext>
            </a:extLst>
          </p:cNvPr>
          <p:cNvGrpSpPr/>
          <p:nvPr/>
        </p:nvGrpSpPr>
        <p:grpSpPr>
          <a:xfrm>
            <a:off x="929436" y="4011615"/>
            <a:ext cx="1021595" cy="1185049"/>
            <a:chOff x="903310" y="3358473"/>
            <a:chExt cx="1021595" cy="1185049"/>
          </a:xfrm>
        </p:grpSpPr>
        <p:sp>
          <p:nvSpPr>
            <p:cNvPr id="48" name="Шестиугольник 47"/>
            <p:cNvSpPr/>
            <p:nvPr/>
          </p:nvSpPr>
          <p:spPr>
            <a:xfrm rot="16200000">
              <a:off x="821583" y="3440200"/>
              <a:ext cx="1185049" cy="1021595"/>
            </a:xfrm>
            <a:prstGeom prst="hexagon">
              <a:avLst>
                <a:gd name="adj" fmla="val 35345"/>
                <a:gd name="vf" fmla="val 115470"/>
              </a:avLst>
            </a:prstGeom>
            <a:solidFill>
              <a:srgbClr val="0072BC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" name="Рисунок 35">
              <a:extLst>
                <a:ext uri="{FF2B5EF4-FFF2-40B4-BE49-F238E27FC236}">
                  <a16:creationId xmlns="" xmlns:a16="http://schemas.microsoft.com/office/drawing/2014/main" id="{D99FDF63-81B2-44F6-9DEB-1938477D6C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6611" y="3729223"/>
              <a:ext cx="443549" cy="443549"/>
            </a:xfrm>
            <a:prstGeom prst="rect">
              <a:avLst/>
            </a:prstGeom>
          </p:spPr>
        </p:pic>
      </p:grpSp>
      <p:sp>
        <p:nvSpPr>
          <p:cNvPr id="21" name="Прямоугольник 20"/>
          <p:cNvSpPr/>
          <p:nvPr/>
        </p:nvSpPr>
        <p:spPr>
          <a:xfrm>
            <a:off x="2011680" y="1881051"/>
            <a:ext cx="713232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азработка своей деятельности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, так, чтобы она как можно лучше подходила ученикам: разделение заданий по уровню сложности и объёму, самостоятельная работа и ответная реакция, применение творческих заданий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090057" y="4127862"/>
            <a:ext cx="70539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Использование различных способов оценки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: партнёрская оценка, личное самооценивание или в группе, формирующее оценивание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69817" y="287383"/>
            <a:ext cx="849085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знаки оценки функциональной </a:t>
            </a:r>
          </a:p>
          <a:p>
            <a:pPr>
              <a:defRPr/>
            </a:pPr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рамотности учителя</a:t>
            </a:r>
          </a:p>
        </p:txBody>
      </p:sp>
    </p:spTree>
    <p:extLst>
      <p:ext uri="{BB962C8B-B14F-4D97-AF65-F5344CB8AC3E}">
        <p14:creationId xmlns:p14="http://schemas.microsoft.com/office/powerpoint/2010/main" val="6212948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object 3"/>
          <p:cNvSpPr>
            <a:spLocks noGrp="1"/>
          </p:cNvSpPr>
          <p:nvPr>
            <p:ph type="title"/>
          </p:nvPr>
        </p:nvSpPr>
        <p:spPr>
          <a:xfrm>
            <a:off x="182879" y="287883"/>
            <a:ext cx="11743509" cy="872034"/>
          </a:xfrm>
        </p:spPr>
        <p:txBody>
          <a:bodyPr wrap="square" lIns="0" tIns="0" rIns="0" bIns="0">
            <a:spAutoFit/>
          </a:bodyPr>
          <a:lstStyle/>
          <a:p>
            <a:pPr algn="ctr" eaLnBrk="1" hangingPunct="1">
              <a:lnSpc>
                <a:spcPts val="3413"/>
              </a:lnSpc>
            </a:pPr>
            <a:r>
              <a:rPr lang="ru-RU" altLang="ru-RU" sz="32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Black" panose="02000000000000000000" pitchFamily="2" charset="0"/>
                <a:cs typeface="Times New Roman" pitchFamily="18" charset="0"/>
              </a:rPr>
              <a:t>СПОСОБСТВОВАТЬ ПЕРЕВОДУ ЗНАНИЙ ИЗ ПАССИВНЫХ В АКТИВНЫЕ</a:t>
            </a: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xmlns="" id="{81C1601F-AD28-47B9-ADCD-1F6E74EB1A62}"/>
              </a:ext>
            </a:extLst>
          </p:cNvPr>
          <p:cNvSpPr txBox="1">
            <a:spLocks noGrp="1"/>
          </p:cNvSpPr>
          <p:nvPr>
            <p:ph sz="quarter" idx="1"/>
          </p:nvPr>
        </p:nvSpPr>
        <p:spPr>
          <a:xfrm>
            <a:off x="287384" y="1589088"/>
            <a:ext cx="5342172" cy="4347344"/>
          </a:xfrm>
        </p:spPr>
        <p:txBody>
          <a:bodyPr wrap="square" lIns="0" tIns="0" rIns="0" bIns="0" rtlCol="0">
            <a:spAutoFit/>
          </a:bodyPr>
          <a:lstStyle/>
          <a:p>
            <a:pPr marL="0" indent="0"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Особенности новых дидактических </a:t>
            </a: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решений</a:t>
            </a:r>
          </a:p>
          <a:p>
            <a:pPr marL="0" indent="0"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 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  <a:latin typeface="Times New Roman" pitchFamily="18" charset="0"/>
              <a:ea typeface="Roboto Thin" panose="02000000000000000000" pitchFamily="2" charset="0"/>
              <a:cs typeface="Times New Roman" pitchFamily="18" charset="0"/>
            </a:endParaRP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Конструктор совместной деятельности</a:t>
            </a: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Учебные ситуации из жизненного </a:t>
            </a:r>
            <a:r>
              <a:rPr lang="ru-RU" sz="2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опы</a:t>
            </a:r>
            <a:r>
              <a:rPr lang="ru-RU" sz="18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та</a:t>
            </a:r>
            <a:endParaRPr lang="ru-RU" sz="1800" dirty="0">
              <a:solidFill>
                <a:prstClr val="black">
                  <a:lumMod val="85000"/>
                  <a:lumOff val="15000"/>
                </a:prstClr>
              </a:solidFill>
              <a:latin typeface="Times New Roman" pitchFamily="18" charset="0"/>
              <a:ea typeface="Roboto Thin" panose="02000000000000000000" pitchFamily="2" charset="0"/>
              <a:cs typeface="Times New Roman" pitchFamily="18" charset="0"/>
            </a:endParaRPr>
          </a:p>
          <a:p>
            <a:pPr marL="0" indent="0"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ru-RU" sz="18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 </a:t>
            </a:r>
            <a:r>
              <a:rPr lang="ru-RU" sz="18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Неопределённость в способах действий </a:t>
            </a:r>
            <a:r>
              <a:rPr lang="ru-RU" sz="18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(нет явных и скрытых указаний на способ действий, нужен «перевод» с обыденного языка на язык предмета, допустимы альтернативные подходы и решения)</a:t>
            </a:r>
          </a:p>
          <a:p>
            <a:pPr marL="0" indent="0" eaLnBrk="1" fontAlgn="auto" hangingPunct="1">
              <a:lnSpc>
                <a:spcPts val="2446"/>
              </a:lnSpc>
              <a:spcBef>
                <a:spcPts val="31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r>
              <a:rPr lang="ru-RU" sz="18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Проблемность во внеучебном контексте </a:t>
            </a:r>
            <a:r>
              <a:rPr lang="ru-RU" sz="18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(необходимо принять осознанное решение, сделать выбор; проблема поставлена ВНЕ предметной области, ситуация близка и понятна школьникам, затрагивает их личностно)      </a:t>
            </a:r>
            <a:endParaRPr sz="1800" dirty="0">
              <a:solidFill>
                <a:prstClr val="black">
                  <a:lumMod val="85000"/>
                  <a:lumOff val="15000"/>
                </a:prstClr>
              </a:solidFill>
              <a:latin typeface="Times New Roman" pitchFamily="18" charset="0"/>
              <a:ea typeface="Roboto Thin" panose="02000000000000000000" pitchFamily="2" charset="0"/>
              <a:cs typeface="Times New Roman" pitchFamily="18" charset="0"/>
            </a:endParaRPr>
          </a:p>
        </p:txBody>
      </p:sp>
      <p:sp>
        <p:nvSpPr>
          <p:cNvPr id="66564" name="Объект 3"/>
          <p:cNvSpPr>
            <a:spLocks noGrp="1"/>
          </p:cNvSpPr>
          <p:nvPr>
            <p:ph sz="quarter" idx="2"/>
          </p:nvPr>
        </p:nvSpPr>
        <p:spPr>
          <a:xfrm>
            <a:off x="6688182" y="1589088"/>
            <a:ext cx="5185955" cy="4572000"/>
          </a:xfrm>
        </p:spPr>
        <p:txBody>
          <a:bodyPr/>
          <a:lstStyle/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lang="ru-RU" altLang="ru-RU" sz="2000" dirty="0" smtClean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lang="ru-RU" altLang="ru-RU" sz="2000" dirty="0" smtClean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lang="ru-RU" altLang="ru-RU" sz="2000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lang="ru-RU" altLang="ru-RU" sz="2000" dirty="0" smtClean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ru-RU" altLang="ru-RU" sz="2000" dirty="0" smtClean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ru-RU" altLang="ru-RU" sz="24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Структурированные </a:t>
            </a:r>
            <a:r>
              <a:rPr lang="ru-RU" altLang="ru-RU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задачи </a:t>
            </a:r>
            <a:r>
              <a:rPr lang="ru-RU" altLang="ru-RU" sz="24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(известны все связи между элементами, необходимо определить неизвестный элемент</a:t>
            </a:r>
            <a:r>
              <a:rPr lang="ru-RU" alt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)</a:t>
            </a: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endParaRPr lang="ru-RU" altLang="ru-RU" sz="2400" dirty="0">
              <a:solidFill>
                <a:prstClr val="black">
                  <a:lumMod val="85000"/>
                  <a:lumOff val="15000"/>
                </a:prstClr>
              </a:solidFill>
              <a:latin typeface="Times New Roman" pitchFamily="18" charset="0"/>
              <a:ea typeface="Roboto Thin" panose="02000000000000000000" pitchFamily="2" charset="0"/>
              <a:cs typeface="Times New Roman" pitchFamily="18" charset="0"/>
            </a:endParaRPr>
          </a:p>
          <a:p>
            <a:pPr marL="0" indent="0"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endParaRPr lang="ru-RU" altLang="ru-RU" sz="2400" dirty="0">
              <a:solidFill>
                <a:prstClr val="black">
                  <a:lumMod val="85000"/>
                  <a:lumOff val="15000"/>
                </a:prstClr>
              </a:solidFill>
              <a:latin typeface="Times New Roman" pitchFamily="18" charset="0"/>
              <a:ea typeface="Roboto Thin" panose="02000000000000000000" pitchFamily="2" charset="0"/>
              <a:cs typeface="Times New Roman" pitchFamily="18" charset="0"/>
            </a:endParaRPr>
          </a:p>
          <a:p>
            <a:pPr eaLnBrk="1" fontAlgn="auto" hangingPunct="1">
              <a:lnSpc>
                <a:spcPts val="244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defRPr/>
            </a:pPr>
            <a:r>
              <a:rPr lang="ru-RU" altLang="ru-RU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Контекстные задачи </a:t>
            </a:r>
            <a:r>
              <a:rPr lang="ru-RU" altLang="ru-RU" sz="2400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(вопрос задачи предполагает множественность правильных ответов)</a:t>
            </a:r>
          </a:p>
          <a:p>
            <a:endParaRPr lang="ru-RU" altLang="ru-RU" sz="2800" dirty="0" smtClean="0"/>
          </a:p>
        </p:txBody>
      </p:sp>
      <p:sp>
        <p:nvSpPr>
          <p:cNvPr id="2" name="Стрелка вниз 1">
            <a:extLst>
              <a:ext uri="{FF2B5EF4-FFF2-40B4-BE49-F238E27FC236}">
                <a16:creationId xmlns:a16="http://schemas.microsoft.com/office/drawing/2014/main" xmlns="" id="{8F9C2364-262D-4B89-B7C3-3AAAFB3AA5A0}"/>
              </a:ext>
            </a:extLst>
          </p:cNvPr>
          <p:cNvSpPr/>
          <p:nvPr/>
        </p:nvSpPr>
        <p:spPr>
          <a:xfrm rot="16200000">
            <a:off x="5910511" y="3214982"/>
            <a:ext cx="484188" cy="8360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Стрелка вниз 2">
            <a:extLst>
              <a:ext uri="{FF2B5EF4-FFF2-40B4-BE49-F238E27FC236}">
                <a16:creationId xmlns:a16="http://schemas.microsoft.com/office/drawing/2014/main" xmlns="" id="{F9EE9AEB-5F01-4E60-8F33-694AD90CFF3C}"/>
              </a:ext>
            </a:extLst>
          </p:cNvPr>
          <p:cNvSpPr/>
          <p:nvPr/>
        </p:nvSpPr>
        <p:spPr>
          <a:xfrm rot="16200000">
            <a:off x="5917044" y="4750274"/>
            <a:ext cx="484187" cy="82296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5D8C3FA9-B62D-4C87-8ABF-8629EABDD7B1}"/>
              </a:ext>
            </a:extLst>
          </p:cNvPr>
          <p:cNvSpPr/>
          <p:nvPr/>
        </p:nvSpPr>
        <p:spPr>
          <a:xfrm>
            <a:off x="1031966" y="6178731"/>
            <a:ext cx="10609172" cy="5878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eaLnBrk="0" fontAlgn="base" hangingPunct="0">
              <a:lnSpc>
                <a:spcPct val="115000"/>
              </a:lnSpc>
              <a:spcBef>
                <a:spcPct val="0"/>
              </a:spcBef>
              <a:tabLst>
                <a:tab pos="457200" algn="l"/>
              </a:tabLst>
              <a:defRPr/>
            </a:pPr>
            <a:r>
              <a:rPr lang="ru-RU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вать учебные ситуации, требующие применения знаний</a:t>
            </a:r>
          </a:p>
        </p:txBody>
      </p:sp>
    </p:spTree>
    <p:extLst>
      <p:ext uri="{BB962C8B-B14F-4D97-AF65-F5344CB8AC3E}">
        <p14:creationId xmlns:p14="http://schemas.microsoft.com/office/powerpoint/2010/main" val="955999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129" y="365125"/>
            <a:ext cx="11259671" cy="1325563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Black" panose="02000000000000000000" pitchFamily="2" charset="0"/>
                <a:cs typeface="Times New Roman" pitchFamily="18" charset="0"/>
              </a:rPr>
              <a:t>Протокол исследования дефицитов в области формирования функциональной грамотност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941" y="1690688"/>
            <a:ext cx="11746275" cy="44862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Структура протокола</a:t>
            </a:r>
          </a:p>
          <a:p>
            <a:pPr marL="0"/>
            <a:r>
              <a:rPr lang="ru-RU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Кейс-тесты </a:t>
            </a:r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на понимание методологии PISA</a:t>
            </a:r>
          </a:p>
          <a:p>
            <a:pPr marL="0"/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Задание на измерение уровня владения педагогами предметными компетенциями </a:t>
            </a:r>
          </a:p>
          <a:p>
            <a:pPr marL="0"/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Кейс-тест на оценку методических компетенций</a:t>
            </a:r>
          </a:p>
          <a:p>
            <a:pPr marL="0" indent="0"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Что получаем?</a:t>
            </a:r>
          </a:p>
          <a:p>
            <a:pPr marL="0"/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Сопровождение электронного гида</a:t>
            </a:r>
          </a:p>
          <a:p>
            <a:pPr marL="0"/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Комментарии к ответам</a:t>
            </a:r>
          </a:p>
          <a:p>
            <a:pPr marL="0"/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Собственную зону ближайшего развития</a:t>
            </a:r>
          </a:p>
        </p:txBody>
      </p:sp>
    </p:spTree>
    <p:extLst>
      <p:ext uri="{BB962C8B-B14F-4D97-AF65-F5344CB8AC3E}">
        <p14:creationId xmlns:p14="http://schemas.microsoft.com/office/powerpoint/2010/main" val="3768269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8823" y="365125"/>
            <a:ext cx="10974977" cy="1325563"/>
          </a:xfrm>
        </p:spPr>
        <p:txBody>
          <a:bodyPr/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ункциональная грамотность есть жизнь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779450" y="1737359"/>
            <a:ext cx="6444309" cy="4519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Прямоугольник 3"/>
          <p:cNvSpPr/>
          <p:nvPr/>
        </p:nvSpPr>
        <p:spPr>
          <a:xfrm>
            <a:off x="7432765" y="1985554"/>
            <a:ext cx="4167051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«Сегодня изучите обряд чайной церемонии», –сказал учитель и дал своим ученикам свиток, в котором были описаны тонкости чайной церемонии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059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981010" y="188913"/>
            <a:ext cx="987425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365" y="595036"/>
            <a:ext cx="11238979" cy="667657"/>
          </a:xfrm>
        </p:spPr>
        <p:txBody>
          <a:bodyPr/>
          <a:lstStyle/>
          <a:p>
            <a:r>
              <a:rPr lang="ru-RU" sz="4000" dirty="0">
                <a:solidFill>
                  <a:schemeClr val="accent6">
                    <a:lumMod val="25000"/>
                  </a:schemeClr>
                </a:solidFill>
                <a:latin typeface="Times New Roman" pitchFamily="18" charset="0"/>
                <a:ea typeface="Roboto Black" panose="02000000000000000000" pitchFamily="2" charset="0"/>
                <a:cs typeface="Times New Roman" pitchFamily="18" charset="0"/>
              </a:rPr>
              <a:t>Направления поиска дидактических решений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76"/>
          </p:nvPr>
        </p:nvSpPr>
        <p:spPr>
          <a:xfrm>
            <a:off x="161365" y="2898638"/>
            <a:ext cx="2836300" cy="853646"/>
          </a:xfrm>
        </p:spPr>
        <p:txBody>
          <a:bodyPr/>
          <a:lstStyle/>
          <a:p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цифровые дидактические решения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93"/>
          </p:nvPr>
        </p:nvSpPr>
        <p:spPr>
          <a:xfrm>
            <a:off x="3550024" y="2774590"/>
            <a:ext cx="2782512" cy="853646"/>
          </a:xfrm>
        </p:spPr>
        <p:txBody>
          <a:bodyPr/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дидактические решения, основанные на идее смешанного обучения 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94"/>
          </p:nvPr>
        </p:nvSpPr>
        <p:spPr>
          <a:xfrm>
            <a:off x="6884895" y="2758968"/>
            <a:ext cx="4078479" cy="1192292"/>
          </a:xfrm>
        </p:spPr>
        <p:txBody>
          <a:bodyPr/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Дидактические решения, основанные на совместном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бучении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и образовательных коллаборациях краудсорсинг 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95"/>
          </p:nvPr>
        </p:nvSpPr>
        <p:spPr>
          <a:xfrm>
            <a:off x="449586" y="4720051"/>
            <a:ext cx="4319908" cy="1576643"/>
          </a:xfrm>
        </p:spPr>
        <p:txBody>
          <a:bodyPr/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дидактических решений связан с изменением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онимания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сути учения: от выполнения учеником заданий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едагога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к самоорганизованной деятельности обучающегося 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98"/>
          </p:nvPr>
        </p:nvSpPr>
        <p:spPr>
          <a:xfrm>
            <a:off x="5780854" y="4747219"/>
            <a:ext cx="4786997" cy="1522305"/>
          </a:xfrm>
        </p:spPr>
        <p:txBody>
          <a:bodyPr/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дидактических решений, относящихся к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гуманистической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парадигме и основанных на развитии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субъектности обучающегося (практика мыследеятельности)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16365" y="2554274"/>
            <a:ext cx="2781300" cy="134619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FEC4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1491" y="2555308"/>
            <a:ext cx="2786113" cy="134124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04" y="2507803"/>
            <a:ext cx="2786113" cy="13412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039" y="4457052"/>
            <a:ext cx="2786113" cy="13412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6360" y="4524114"/>
            <a:ext cx="2786113" cy="13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9290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287383" y="179882"/>
            <a:ext cx="10456817" cy="1257032"/>
          </a:xfrm>
        </p:spPr>
        <p:txBody>
          <a:bodyPr/>
          <a:lstStyle/>
          <a:p>
            <a:r>
              <a:rPr lang="ru-RU" sz="4000" dirty="0" smtClean="0">
                <a:solidFill>
                  <a:srgbClr val="1856BB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Дидактические решения</a:t>
            </a:r>
            <a:endParaRPr lang="ru-RU" sz="4000" dirty="0">
              <a:solidFill>
                <a:srgbClr val="1856BB"/>
              </a:solidFill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47"/>
          </p:nvPr>
        </p:nvSpPr>
        <p:spPr>
          <a:xfrm>
            <a:off x="598146" y="3658618"/>
            <a:ext cx="2665472" cy="2146325"/>
          </a:xfrm>
        </p:spPr>
        <p:txBody>
          <a:bodyPr/>
          <a:lstStyle/>
          <a:p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Цифровая грамотност</a:t>
            </a:r>
            <a:r>
              <a:rPr lang="ru-RU" sz="2000" dirty="0" smtClean="0"/>
              <a:t>ь</a:t>
            </a:r>
            <a:endParaRPr lang="ru-RU" sz="200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53"/>
          </p:nvPr>
        </p:nvSpPr>
        <p:spPr>
          <a:xfrm>
            <a:off x="222069" y="875211"/>
            <a:ext cx="11599817" cy="378823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1856BB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Электронная библиотека дидактических решений</a:t>
            </a:r>
            <a:endParaRPr lang="ru-RU" sz="4000" dirty="0">
              <a:solidFill>
                <a:srgbClr val="1856BB"/>
              </a:solidFill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54"/>
          </p:nvPr>
        </p:nvSpPr>
        <p:spPr>
          <a:xfrm>
            <a:off x="611573" y="4196548"/>
            <a:ext cx="2118908" cy="2073971"/>
          </a:xfrm>
        </p:spPr>
        <p:txBody>
          <a:bodyPr/>
          <a:lstStyle/>
          <a:p>
            <a:r>
              <a:rPr lang="en-US" sz="1800" b="1" dirty="0" smtClean="0"/>
              <a:t>Sway</a:t>
            </a:r>
            <a:r>
              <a:rPr lang="ru-RU" sz="1800" b="1" dirty="0" smtClean="0"/>
              <a:t>-приложение</a:t>
            </a:r>
            <a:endParaRPr lang="ru-RU" sz="1800" b="1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55"/>
          </p:nvPr>
        </p:nvSpPr>
        <p:spPr>
          <a:xfrm>
            <a:off x="3355021" y="3752215"/>
            <a:ext cx="2439093" cy="530386"/>
          </a:xfrm>
        </p:spPr>
        <p:txBody>
          <a:bodyPr/>
          <a:lstStyle/>
          <a:p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Естественнонаучная грамотность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56"/>
          </p:nvPr>
        </p:nvSpPr>
        <p:spPr>
          <a:xfrm>
            <a:off x="2998129" y="4424817"/>
            <a:ext cx="2795986" cy="2373225"/>
          </a:xfrm>
        </p:spPr>
        <p:txBody>
          <a:bodyPr/>
          <a:lstStyle/>
          <a:p>
            <a:r>
              <a:rPr lang="ru-RU" sz="1800" b="1" dirty="0" smtClean="0"/>
              <a:t>Химический эксперимент</a:t>
            </a:r>
            <a:r>
              <a:rPr lang="ru-RU" sz="1800" b="1" dirty="0"/>
              <a:t>, </a:t>
            </a:r>
            <a:r>
              <a:rPr lang="ru-RU" sz="1800" b="1" dirty="0" smtClean="0"/>
              <a:t>Фреймовые технологии</a:t>
            </a:r>
            <a:r>
              <a:rPr lang="ru-RU" sz="1800" b="1" dirty="0"/>
              <a:t>, С</a:t>
            </a:r>
            <a:r>
              <a:rPr lang="ru-RU" sz="1800" b="1" dirty="0" smtClean="0"/>
              <a:t>мысловое чтение (биология)</a:t>
            </a:r>
            <a:endParaRPr lang="ru-RU" sz="1800" b="1" dirty="0"/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59"/>
          </p:nvPr>
        </p:nvSpPr>
        <p:spPr>
          <a:xfrm>
            <a:off x="8529191" y="3776656"/>
            <a:ext cx="3662809" cy="450904"/>
          </a:xfrm>
        </p:spPr>
        <p:txBody>
          <a:bodyPr/>
          <a:lstStyle/>
          <a:p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Математическая грамотность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Grp="1" noChangeAspect="1"/>
          </p:cNvPicPr>
          <p:nvPr>
            <p:ph type="pic" sz="quarter" idx="62"/>
          </p:nvPr>
        </p:nvPicPr>
        <p:blipFill>
          <a:blip r:embed="rId2" cstate="print"/>
          <a:srcRect l="7252" r="7252"/>
          <a:stretch>
            <a:fillRect/>
          </a:stretch>
        </p:blipFill>
        <p:spPr>
          <a:xfrm>
            <a:off x="3644453" y="1439056"/>
            <a:ext cx="2124000" cy="2170943"/>
          </a:xfrm>
          <a:prstGeom prst="rect">
            <a:avLst/>
          </a:prstGeom>
        </p:spPr>
      </p:pic>
      <p:pic>
        <p:nvPicPr>
          <p:cNvPr id="33" name="Рисунок 32"/>
          <p:cNvPicPr>
            <a:picLocks noGrp="1" noChangeAspect="1"/>
          </p:cNvPicPr>
          <p:nvPr>
            <p:ph type="pic" sz="quarter" idx="63"/>
          </p:nvPr>
        </p:nvPicPr>
        <p:blipFill>
          <a:blip r:embed="rId3" cstate="print"/>
          <a:srcRect l="18821" r="18821"/>
          <a:stretch>
            <a:fillRect/>
          </a:stretch>
        </p:blipFill>
        <p:spPr>
          <a:xfrm>
            <a:off x="6392360" y="1439056"/>
            <a:ext cx="2124000" cy="2170943"/>
          </a:xfrm>
          <a:prstGeom prst="rect">
            <a:avLst/>
          </a:prstGeom>
        </p:spPr>
      </p:pic>
      <p:pic>
        <p:nvPicPr>
          <p:cNvPr id="35" name="Рисунок 34"/>
          <p:cNvPicPr>
            <a:picLocks noGrp="1" noChangeAspect="1"/>
          </p:cNvPicPr>
          <p:nvPr>
            <p:ph type="pic" sz="quarter" idx="64"/>
          </p:nvPr>
        </p:nvPicPr>
        <p:blipFill>
          <a:blip r:embed="rId4" cstate="print"/>
          <a:srcRect l="18874" r="18874"/>
          <a:stretch>
            <a:fillRect/>
          </a:stretch>
        </p:blipFill>
        <p:spPr>
          <a:xfrm>
            <a:off x="9126190" y="1439057"/>
            <a:ext cx="2124000" cy="2170942"/>
          </a:xfrm>
          <a:prstGeom prst="rect">
            <a:avLst/>
          </a:prstGeom>
        </p:spPr>
      </p:pic>
      <p:sp>
        <p:nvSpPr>
          <p:cNvPr id="28" name="Текст 27"/>
          <p:cNvSpPr>
            <a:spLocks noGrp="1"/>
          </p:cNvSpPr>
          <p:nvPr>
            <p:ph type="body" sz="quarter" idx="65"/>
          </p:nvPr>
        </p:nvSpPr>
        <p:spPr>
          <a:xfrm>
            <a:off x="5794114" y="4394217"/>
            <a:ext cx="3078507" cy="242631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/>
              <a:t>Слоенный пирог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/>
              <a:t>Лента времени, Инфографика, Медиатехнология</a:t>
            </a:r>
            <a:r>
              <a:rPr lang="ru-RU" sz="1600" b="1" dirty="0"/>
              <a:t>, «</a:t>
            </a:r>
            <a:r>
              <a:rPr lang="ru-RU" sz="1600" b="1" dirty="0" smtClean="0"/>
              <a:t>Телекомпьютинг,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/>
              <a:t> Зигзаг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/>
              <a:t>Децентрация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/>
              <a:t>Жизнь в кадре</a:t>
            </a:r>
            <a:endParaRPr lang="ru-RU" sz="1600" b="1" dirty="0"/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66"/>
          </p:nvPr>
        </p:nvSpPr>
        <p:spPr>
          <a:xfrm>
            <a:off x="9140268" y="4196548"/>
            <a:ext cx="2741840" cy="25265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/>
              <a:t>Интеллектуальные игры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/>
              <a:t>Диалог культур, Геймификация, Самоорганизация</a:t>
            </a:r>
            <a:endParaRPr lang="ru-RU" sz="1600" b="1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67"/>
          </p:nvPr>
        </p:nvSpPr>
        <p:spPr>
          <a:xfrm>
            <a:off x="5905425" y="3776656"/>
            <a:ext cx="3097870" cy="63045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Читательская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грамотность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37" name="Рисунок 36"/>
          <p:cNvPicPr>
            <a:picLocks noGrp="1" noChangeAspect="1"/>
          </p:cNvPicPr>
          <p:nvPr>
            <p:ph type="pic" sz="quarter" idx="61"/>
          </p:nvPr>
        </p:nvPicPr>
        <p:blipFill>
          <a:blip r:embed="rId5" cstate="print"/>
          <a:srcRect l="18874" r="18874"/>
          <a:stretch>
            <a:fillRect/>
          </a:stretch>
        </p:blipFill>
        <p:spPr>
          <a:xfrm>
            <a:off x="822774" y="1439056"/>
            <a:ext cx="2124000" cy="2139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286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EBBDCC75-D59D-4995-8A87-ABD2C9BA4578}"/>
              </a:ext>
            </a:extLst>
          </p:cNvPr>
          <p:cNvGrpSpPr/>
          <p:nvPr/>
        </p:nvGrpSpPr>
        <p:grpSpPr>
          <a:xfrm>
            <a:off x="426507" y="1"/>
            <a:ext cx="9926659" cy="6858000"/>
            <a:chOff x="4549775" y="1466850"/>
            <a:chExt cx="3092450" cy="3922713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D1A724F6-CC61-4EAF-B004-6F02D61BF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75" y="1466850"/>
              <a:ext cx="3092450" cy="3922713"/>
            </a:xfrm>
            <a:custGeom>
              <a:avLst/>
              <a:gdLst>
                <a:gd name="T0" fmla="*/ 1387 w 4410"/>
                <a:gd name="T1" fmla="*/ 2798 h 2798"/>
                <a:gd name="T2" fmla="*/ 2876 w 4410"/>
                <a:gd name="T3" fmla="*/ 2392 h 2798"/>
                <a:gd name="T4" fmla="*/ 3712 w 4410"/>
                <a:gd name="T5" fmla="*/ 1825 h 2798"/>
                <a:gd name="T6" fmla="*/ 2634 w 4410"/>
                <a:gd name="T7" fmla="*/ 1144 h 2798"/>
                <a:gd name="T8" fmla="*/ 3364 w 4410"/>
                <a:gd name="T9" fmla="*/ 921 h 2798"/>
                <a:gd name="T10" fmla="*/ 4107 w 4410"/>
                <a:gd name="T11" fmla="*/ 631 h 2798"/>
                <a:gd name="T12" fmla="*/ 3500 w 4410"/>
                <a:gd name="T13" fmla="*/ 372 h 2798"/>
                <a:gd name="T14" fmla="*/ 3802 w 4410"/>
                <a:gd name="T15" fmla="*/ 184 h 2798"/>
                <a:gd name="T16" fmla="*/ 4410 w 4410"/>
                <a:gd name="T17" fmla="*/ 0 h 2798"/>
                <a:gd name="T18" fmla="*/ 4066 w 4410"/>
                <a:gd name="T19" fmla="*/ 0 h 2798"/>
                <a:gd name="T20" fmla="*/ 2835 w 4410"/>
                <a:gd name="T21" fmla="*/ 306 h 2798"/>
                <a:gd name="T22" fmla="*/ 3594 w 4410"/>
                <a:gd name="T23" fmla="*/ 621 h 2798"/>
                <a:gd name="T24" fmla="*/ 1949 w 4410"/>
                <a:gd name="T25" fmla="*/ 1104 h 2798"/>
                <a:gd name="T26" fmla="*/ 1939 w 4410"/>
                <a:gd name="T27" fmla="*/ 1191 h 2798"/>
                <a:gd name="T28" fmla="*/ 2829 w 4410"/>
                <a:gd name="T29" fmla="*/ 1822 h 2798"/>
                <a:gd name="T30" fmla="*/ 1136 w 4410"/>
                <a:gd name="T31" fmla="*/ 2243 h 2798"/>
                <a:gd name="T32" fmla="*/ 0 w 4410"/>
                <a:gd name="T33" fmla="*/ 2685 h 2798"/>
                <a:gd name="T34" fmla="*/ 0 w 4410"/>
                <a:gd name="T35" fmla="*/ 2798 h 2798"/>
                <a:gd name="T36" fmla="*/ 1387 w 4410"/>
                <a:gd name="T37" fmla="*/ 2798 h 2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10" h="2798">
                  <a:moveTo>
                    <a:pt x="1387" y="2798"/>
                  </a:moveTo>
                  <a:cubicBezTo>
                    <a:pt x="1590" y="2615"/>
                    <a:pt x="2359" y="2534"/>
                    <a:pt x="2876" y="2392"/>
                  </a:cubicBezTo>
                  <a:cubicBezTo>
                    <a:pt x="3505" y="2220"/>
                    <a:pt x="3693" y="2022"/>
                    <a:pt x="3712" y="1825"/>
                  </a:cubicBezTo>
                  <a:cubicBezTo>
                    <a:pt x="3765" y="1299"/>
                    <a:pt x="2623" y="1305"/>
                    <a:pt x="2634" y="1144"/>
                  </a:cubicBezTo>
                  <a:cubicBezTo>
                    <a:pt x="2644" y="1007"/>
                    <a:pt x="3129" y="948"/>
                    <a:pt x="3364" y="921"/>
                  </a:cubicBezTo>
                  <a:cubicBezTo>
                    <a:pt x="3739" y="879"/>
                    <a:pt x="4086" y="784"/>
                    <a:pt x="4107" y="631"/>
                  </a:cubicBezTo>
                  <a:cubicBezTo>
                    <a:pt x="4143" y="377"/>
                    <a:pt x="3608" y="403"/>
                    <a:pt x="3500" y="372"/>
                  </a:cubicBezTo>
                  <a:cubicBezTo>
                    <a:pt x="3181" y="282"/>
                    <a:pt x="3396" y="234"/>
                    <a:pt x="3802" y="184"/>
                  </a:cubicBezTo>
                  <a:cubicBezTo>
                    <a:pt x="4172" y="138"/>
                    <a:pt x="4365" y="106"/>
                    <a:pt x="4410" y="0"/>
                  </a:cubicBezTo>
                  <a:cubicBezTo>
                    <a:pt x="4066" y="0"/>
                    <a:pt x="4066" y="0"/>
                    <a:pt x="4066" y="0"/>
                  </a:cubicBezTo>
                  <a:cubicBezTo>
                    <a:pt x="3945" y="129"/>
                    <a:pt x="2829" y="68"/>
                    <a:pt x="2835" y="306"/>
                  </a:cubicBezTo>
                  <a:cubicBezTo>
                    <a:pt x="2839" y="481"/>
                    <a:pt x="3599" y="506"/>
                    <a:pt x="3594" y="621"/>
                  </a:cubicBezTo>
                  <a:cubicBezTo>
                    <a:pt x="3587" y="771"/>
                    <a:pt x="2144" y="733"/>
                    <a:pt x="1949" y="1104"/>
                  </a:cubicBezTo>
                  <a:cubicBezTo>
                    <a:pt x="1934" y="1133"/>
                    <a:pt x="1938" y="1156"/>
                    <a:pt x="1939" y="1191"/>
                  </a:cubicBezTo>
                  <a:cubicBezTo>
                    <a:pt x="1952" y="1468"/>
                    <a:pt x="2882" y="1583"/>
                    <a:pt x="2829" y="1822"/>
                  </a:cubicBezTo>
                  <a:cubicBezTo>
                    <a:pt x="2783" y="2029"/>
                    <a:pt x="2384" y="1941"/>
                    <a:pt x="1136" y="2243"/>
                  </a:cubicBezTo>
                  <a:cubicBezTo>
                    <a:pt x="939" y="2291"/>
                    <a:pt x="246" y="2452"/>
                    <a:pt x="0" y="2685"/>
                  </a:cubicBezTo>
                  <a:cubicBezTo>
                    <a:pt x="0" y="2798"/>
                    <a:pt x="0" y="2798"/>
                    <a:pt x="0" y="2798"/>
                  </a:cubicBezTo>
                  <a:lnTo>
                    <a:pt x="1387" y="279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987A8BD2-51F0-4E4F-B22A-0FB2D6507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75" y="1466850"/>
              <a:ext cx="3081338" cy="3763963"/>
            </a:xfrm>
            <a:custGeom>
              <a:avLst/>
              <a:gdLst>
                <a:gd name="T0" fmla="*/ 1387 w 4395"/>
                <a:gd name="T1" fmla="*/ 2685 h 2685"/>
                <a:gd name="T2" fmla="*/ 2876 w 4395"/>
                <a:gd name="T3" fmla="*/ 2292 h 2685"/>
                <a:gd name="T4" fmla="*/ 3712 w 4395"/>
                <a:gd name="T5" fmla="*/ 1742 h 2685"/>
                <a:gd name="T6" fmla="*/ 2634 w 4395"/>
                <a:gd name="T7" fmla="*/ 1082 h 2685"/>
                <a:gd name="T8" fmla="*/ 3364 w 4395"/>
                <a:gd name="T9" fmla="*/ 866 h 2685"/>
                <a:gd name="T10" fmla="*/ 4107 w 4395"/>
                <a:gd name="T11" fmla="*/ 585 h 2685"/>
                <a:gd name="T12" fmla="*/ 3500 w 4395"/>
                <a:gd name="T13" fmla="*/ 334 h 2685"/>
                <a:gd name="T14" fmla="*/ 3802 w 4395"/>
                <a:gd name="T15" fmla="*/ 152 h 2685"/>
                <a:gd name="T16" fmla="*/ 4395 w 4395"/>
                <a:gd name="T17" fmla="*/ 0 h 2685"/>
                <a:gd name="T18" fmla="*/ 4033 w 4395"/>
                <a:gd name="T19" fmla="*/ 0 h 2685"/>
                <a:gd name="T20" fmla="*/ 2840 w 4395"/>
                <a:gd name="T21" fmla="*/ 270 h 2685"/>
                <a:gd name="T22" fmla="*/ 3594 w 4395"/>
                <a:gd name="T23" fmla="*/ 575 h 2685"/>
                <a:gd name="T24" fmla="*/ 1940 w 4395"/>
                <a:gd name="T25" fmla="*/ 1122 h 2685"/>
                <a:gd name="T26" fmla="*/ 2829 w 4395"/>
                <a:gd name="T27" fmla="*/ 1739 h 2685"/>
                <a:gd name="T28" fmla="*/ 1136 w 4395"/>
                <a:gd name="T29" fmla="*/ 2147 h 2685"/>
                <a:gd name="T30" fmla="*/ 0 w 4395"/>
                <a:gd name="T31" fmla="*/ 2685 h 2685"/>
                <a:gd name="T32" fmla="*/ 1387 w 4395"/>
                <a:gd name="T33" fmla="*/ 2685 h 2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95" h="2685">
                  <a:moveTo>
                    <a:pt x="1387" y="2685"/>
                  </a:moveTo>
                  <a:cubicBezTo>
                    <a:pt x="1590" y="2508"/>
                    <a:pt x="2359" y="2429"/>
                    <a:pt x="2876" y="2292"/>
                  </a:cubicBezTo>
                  <a:cubicBezTo>
                    <a:pt x="3505" y="2125"/>
                    <a:pt x="3714" y="1934"/>
                    <a:pt x="3712" y="1742"/>
                  </a:cubicBezTo>
                  <a:cubicBezTo>
                    <a:pt x="3708" y="1359"/>
                    <a:pt x="2623" y="1238"/>
                    <a:pt x="2634" y="1082"/>
                  </a:cubicBezTo>
                  <a:cubicBezTo>
                    <a:pt x="2644" y="949"/>
                    <a:pt x="3129" y="892"/>
                    <a:pt x="3364" y="866"/>
                  </a:cubicBezTo>
                  <a:cubicBezTo>
                    <a:pt x="3739" y="825"/>
                    <a:pt x="4110" y="735"/>
                    <a:pt x="4107" y="585"/>
                  </a:cubicBezTo>
                  <a:cubicBezTo>
                    <a:pt x="4104" y="397"/>
                    <a:pt x="3608" y="364"/>
                    <a:pt x="3500" y="334"/>
                  </a:cubicBezTo>
                  <a:cubicBezTo>
                    <a:pt x="3181" y="247"/>
                    <a:pt x="3396" y="202"/>
                    <a:pt x="3802" y="152"/>
                  </a:cubicBezTo>
                  <a:cubicBezTo>
                    <a:pt x="4266" y="94"/>
                    <a:pt x="4362" y="62"/>
                    <a:pt x="4395" y="0"/>
                  </a:cubicBezTo>
                  <a:cubicBezTo>
                    <a:pt x="4033" y="0"/>
                    <a:pt x="4033" y="0"/>
                    <a:pt x="4033" y="0"/>
                  </a:cubicBezTo>
                  <a:cubicBezTo>
                    <a:pt x="3907" y="77"/>
                    <a:pt x="2921" y="89"/>
                    <a:pt x="2840" y="270"/>
                  </a:cubicBezTo>
                  <a:cubicBezTo>
                    <a:pt x="2773" y="419"/>
                    <a:pt x="3599" y="464"/>
                    <a:pt x="3594" y="575"/>
                  </a:cubicBezTo>
                  <a:cubicBezTo>
                    <a:pt x="3585" y="751"/>
                    <a:pt x="2014" y="702"/>
                    <a:pt x="1940" y="1122"/>
                  </a:cubicBezTo>
                  <a:cubicBezTo>
                    <a:pt x="1893" y="1387"/>
                    <a:pt x="2882" y="1508"/>
                    <a:pt x="2829" y="1739"/>
                  </a:cubicBezTo>
                  <a:cubicBezTo>
                    <a:pt x="2783" y="1940"/>
                    <a:pt x="2384" y="1854"/>
                    <a:pt x="1136" y="2147"/>
                  </a:cubicBezTo>
                  <a:cubicBezTo>
                    <a:pt x="907" y="2200"/>
                    <a:pt x="169" y="2442"/>
                    <a:pt x="0" y="2685"/>
                  </a:cubicBezTo>
                  <a:lnTo>
                    <a:pt x="1387" y="2685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65A7007-B6F4-40B9-882E-39A363A27E31}"/>
              </a:ext>
            </a:extLst>
          </p:cNvPr>
          <p:cNvSpPr txBox="1"/>
          <p:nvPr/>
        </p:nvSpPr>
        <p:spPr>
          <a:xfrm>
            <a:off x="553182" y="347455"/>
            <a:ext cx="65418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Индивидуальный маршрут профессионального роста учителя</a:t>
            </a:r>
            <a:endParaRPr lang="en-GB" sz="24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1CD51FE4-1BE9-4725-8C5E-D585E86C49EB}"/>
              </a:ext>
            </a:extLst>
          </p:cNvPr>
          <p:cNvGrpSpPr/>
          <p:nvPr/>
        </p:nvGrpSpPr>
        <p:grpSpPr>
          <a:xfrm>
            <a:off x="1916621" y="3860754"/>
            <a:ext cx="1462984" cy="2261827"/>
            <a:chOff x="7478257" y="2193205"/>
            <a:chExt cx="452893" cy="700189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xmlns="" id="{AC61A92C-7461-488B-B685-D8503D3CD944}"/>
                </a:ext>
              </a:extLst>
            </p:cNvPr>
            <p:cNvSpPr/>
            <p:nvPr/>
          </p:nvSpPr>
          <p:spPr>
            <a:xfrm>
              <a:off x="7478257" y="2786413"/>
              <a:ext cx="452893" cy="106981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xmlns="" id="{EAFE7348-1270-48F4-B06C-3337B907A1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8257" y="2193205"/>
              <a:ext cx="452893" cy="646699"/>
            </a:xfrm>
            <a:custGeom>
              <a:avLst/>
              <a:gdLst>
                <a:gd name="T0" fmla="*/ 214 w 221"/>
                <a:gd name="T1" fmla="*/ 77 h 315"/>
                <a:gd name="T2" fmla="*/ 164 w 221"/>
                <a:gd name="T3" fmla="*/ 14 h 315"/>
                <a:gd name="T4" fmla="*/ 110 w 221"/>
                <a:gd name="T5" fmla="*/ 0 h 315"/>
                <a:gd name="T6" fmla="*/ 110 w 221"/>
                <a:gd name="T7" fmla="*/ 0 h 315"/>
                <a:gd name="T8" fmla="*/ 56 w 221"/>
                <a:gd name="T9" fmla="*/ 14 h 315"/>
                <a:gd name="T10" fmla="*/ 6 w 221"/>
                <a:gd name="T11" fmla="*/ 77 h 315"/>
                <a:gd name="T12" fmla="*/ 5 w 221"/>
                <a:gd name="T13" fmla="*/ 132 h 315"/>
                <a:gd name="T14" fmla="*/ 40 w 221"/>
                <a:gd name="T15" fmla="*/ 208 h 315"/>
                <a:gd name="T16" fmla="*/ 94 w 221"/>
                <a:gd name="T17" fmla="*/ 292 h 315"/>
                <a:gd name="T18" fmla="*/ 110 w 221"/>
                <a:gd name="T19" fmla="*/ 315 h 315"/>
                <a:gd name="T20" fmla="*/ 110 w 221"/>
                <a:gd name="T21" fmla="*/ 315 h 315"/>
                <a:gd name="T22" fmla="*/ 126 w 221"/>
                <a:gd name="T23" fmla="*/ 292 h 315"/>
                <a:gd name="T24" fmla="*/ 180 w 221"/>
                <a:gd name="T25" fmla="*/ 208 h 315"/>
                <a:gd name="T26" fmla="*/ 215 w 221"/>
                <a:gd name="T27" fmla="*/ 132 h 315"/>
                <a:gd name="T28" fmla="*/ 214 w 221"/>
                <a:gd name="T29" fmla="*/ 77 h 315"/>
                <a:gd name="T30" fmla="*/ 110 w 221"/>
                <a:gd name="T31" fmla="*/ 174 h 315"/>
                <a:gd name="T32" fmla="*/ 110 w 221"/>
                <a:gd name="T33" fmla="*/ 174 h 315"/>
                <a:gd name="T34" fmla="*/ 110 w 221"/>
                <a:gd name="T35" fmla="*/ 174 h 315"/>
                <a:gd name="T36" fmla="*/ 44 w 221"/>
                <a:gd name="T37" fmla="*/ 108 h 315"/>
                <a:gd name="T38" fmla="*/ 110 w 221"/>
                <a:gd name="T39" fmla="*/ 42 h 315"/>
                <a:gd name="T40" fmla="*/ 110 w 221"/>
                <a:gd name="T41" fmla="*/ 42 h 315"/>
                <a:gd name="T42" fmla="*/ 110 w 221"/>
                <a:gd name="T43" fmla="*/ 42 h 315"/>
                <a:gd name="T44" fmla="*/ 176 w 221"/>
                <a:gd name="T45" fmla="*/ 108 h 315"/>
                <a:gd name="T46" fmla="*/ 110 w 221"/>
                <a:gd name="T47" fmla="*/ 17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15">
                  <a:moveTo>
                    <a:pt x="214" y="77"/>
                  </a:moveTo>
                  <a:cubicBezTo>
                    <a:pt x="206" y="50"/>
                    <a:pt x="189" y="29"/>
                    <a:pt x="164" y="14"/>
                  </a:cubicBezTo>
                  <a:cubicBezTo>
                    <a:pt x="147" y="4"/>
                    <a:pt x="129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91" y="0"/>
                    <a:pt x="73" y="4"/>
                    <a:pt x="56" y="14"/>
                  </a:cubicBezTo>
                  <a:cubicBezTo>
                    <a:pt x="31" y="29"/>
                    <a:pt x="15" y="50"/>
                    <a:pt x="6" y="77"/>
                  </a:cubicBezTo>
                  <a:cubicBezTo>
                    <a:pt x="1" y="95"/>
                    <a:pt x="0" y="114"/>
                    <a:pt x="5" y="132"/>
                  </a:cubicBezTo>
                  <a:cubicBezTo>
                    <a:pt x="13" y="159"/>
                    <a:pt x="26" y="184"/>
                    <a:pt x="40" y="208"/>
                  </a:cubicBezTo>
                  <a:cubicBezTo>
                    <a:pt x="58" y="237"/>
                    <a:pt x="76" y="264"/>
                    <a:pt x="94" y="292"/>
                  </a:cubicBezTo>
                  <a:cubicBezTo>
                    <a:pt x="99" y="300"/>
                    <a:pt x="104" y="307"/>
                    <a:pt x="110" y="315"/>
                  </a:cubicBezTo>
                  <a:cubicBezTo>
                    <a:pt x="110" y="315"/>
                    <a:pt x="110" y="315"/>
                    <a:pt x="110" y="315"/>
                  </a:cubicBezTo>
                  <a:cubicBezTo>
                    <a:pt x="116" y="307"/>
                    <a:pt x="121" y="300"/>
                    <a:pt x="126" y="292"/>
                  </a:cubicBezTo>
                  <a:cubicBezTo>
                    <a:pt x="144" y="264"/>
                    <a:pt x="163" y="237"/>
                    <a:pt x="180" y="208"/>
                  </a:cubicBezTo>
                  <a:cubicBezTo>
                    <a:pt x="194" y="184"/>
                    <a:pt x="207" y="159"/>
                    <a:pt x="215" y="132"/>
                  </a:cubicBezTo>
                  <a:cubicBezTo>
                    <a:pt x="221" y="114"/>
                    <a:pt x="220" y="95"/>
                    <a:pt x="214" y="77"/>
                  </a:cubicBezTo>
                  <a:close/>
                  <a:moveTo>
                    <a:pt x="110" y="174"/>
                  </a:moveTo>
                  <a:cubicBezTo>
                    <a:pt x="110" y="174"/>
                    <a:pt x="110" y="174"/>
                    <a:pt x="110" y="174"/>
                  </a:cubicBezTo>
                  <a:cubicBezTo>
                    <a:pt x="110" y="174"/>
                    <a:pt x="110" y="174"/>
                    <a:pt x="110" y="174"/>
                  </a:cubicBezTo>
                  <a:cubicBezTo>
                    <a:pt x="74" y="174"/>
                    <a:pt x="44" y="145"/>
                    <a:pt x="44" y="108"/>
                  </a:cubicBezTo>
                  <a:cubicBezTo>
                    <a:pt x="44" y="72"/>
                    <a:pt x="74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47" y="42"/>
                    <a:pt x="176" y="72"/>
                    <a:pt x="176" y="108"/>
                  </a:cubicBezTo>
                  <a:cubicBezTo>
                    <a:pt x="176" y="145"/>
                    <a:pt x="147" y="174"/>
                    <a:pt x="110" y="17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xmlns="" id="{043ABD47-F9C4-4180-B251-BA5EA328BD7A}"/>
              </a:ext>
            </a:extLst>
          </p:cNvPr>
          <p:cNvGrpSpPr/>
          <p:nvPr/>
        </p:nvGrpSpPr>
        <p:grpSpPr>
          <a:xfrm>
            <a:off x="107950" y="67734"/>
            <a:ext cx="10839450" cy="6701366"/>
            <a:chOff x="2943225" y="38100"/>
            <a:chExt cx="6305550" cy="6818313"/>
          </a:xfrm>
          <a:solidFill>
            <a:schemeClr val="bg1"/>
          </a:solidFill>
        </p:grpSpPr>
        <p:sp>
          <p:nvSpPr>
            <p:cNvPr id="103" name="Freeform 86">
              <a:extLst>
                <a:ext uri="{FF2B5EF4-FFF2-40B4-BE49-F238E27FC236}">
                  <a16:creationId xmlns:a16="http://schemas.microsoft.com/office/drawing/2014/main" xmlns="" id="{80F0C35D-6EE0-4A50-A875-08A1FCAEB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5" y="6856413"/>
              <a:ext cx="6305550" cy="0"/>
            </a:xfrm>
            <a:custGeom>
              <a:avLst/>
              <a:gdLst>
                <a:gd name="T0" fmla="*/ 0 w 15350"/>
                <a:gd name="T1" fmla="*/ 15350 w 1535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5350">
                  <a:moveTo>
                    <a:pt x="0" y="0"/>
                  </a:moveTo>
                  <a:cubicBezTo>
                    <a:pt x="5120" y="0"/>
                    <a:pt x="10235" y="0"/>
                    <a:pt x="1535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04" name="Freeform 89">
              <a:extLst>
                <a:ext uri="{FF2B5EF4-FFF2-40B4-BE49-F238E27FC236}">
                  <a16:creationId xmlns:a16="http://schemas.microsoft.com/office/drawing/2014/main" xmlns="" id="{A154FF12-18DB-454D-AEBB-AEE97A349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25" y="5073650"/>
              <a:ext cx="330200" cy="195263"/>
            </a:xfrm>
            <a:custGeom>
              <a:avLst/>
              <a:gdLst>
                <a:gd name="T0" fmla="*/ 15 w 803"/>
                <a:gd name="T1" fmla="*/ 238 h 238"/>
                <a:gd name="T2" fmla="*/ 0 w 803"/>
                <a:gd name="T3" fmla="*/ 176 h 238"/>
                <a:gd name="T4" fmla="*/ 789 w 803"/>
                <a:gd name="T5" fmla="*/ 0 h 238"/>
                <a:gd name="T6" fmla="*/ 803 w 803"/>
                <a:gd name="T7" fmla="*/ 56 h 238"/>
                <a:gd name="T8" fmla="*/ 15 w 803"/>
                <a:gd name="T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3" h="238">
                  <a:moveTo>
                    <a:pt x="15" y="238"/>
                  </a:moveTo>
                  <a:cubicBezTo>
                    <a:pt x="10" y="218"/>
                    <a:pt x="5" y="199"/>
                    <a:pt x="0" y="176"/>
                  </a:cubicBezTo>
                  <a:cubicBezTo>
                    <a:pt x="264" y="117"/>
                    <a:pt x="525" y="59"/>
                    <a:pt x="789" y="0"/>
                  </a:cubicBezTo>
                  <a:cubicBezTo>
                    <a:pt x="795" y="22"/>
                    <a:pt x="799" y="40"/>
                    <a:pt x="803" y="56"/>
                  </a:cubicBezTo>
                  <a:cubicBezTo>
                    <a:pt x="769" y="77"/>
                    <a:pt x="175" y="214"/>
                    <a:pt x="15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05" name="Freeform 90">
              <a:extLst>
                <a:ext uri="{FF2B5EF4-FFF2-40B4-BE49-F238E27FC236}">
                  <a16:creationId xmlns:a16="http://schemas.microsoft.com/office/drawing/2014/main" xmlns="" id="{34BE5A1F-E8DD-4233-81A0-9CD1CD122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8350" y="5321300"/>
              <a:ext cx="330200" cy="184150"/>
            </a:xfrm>
            <a:custGeom>
              <a:avLst/>
              <a:gdLst>
                <a:gd name="T0" fmla="*/ 792 w 804"/>
                <a:gd name="T1" fmla="*/ 4 h 224"/>
                <a:gd name="T2" fmla="*/ 804 w 804"/>
                <a:gd name="T3" fmla="*/ 61 h 224"/>
                <a:gd name="T4" fmla="*/ 13 w 804"/>
                <a:gd name="T5" fmla="*/ 224 h 224"/>
                <a:gd name="T6" fmla="*/ 2 w 804"/>
                <a:gd name="T7" fmla="*/ 184 h 224"/>
                <a:gd name="T8" fmla="*/ 0 w 804"/>
                <a:gd name="T9" fmla="*/ 166 h 224"/>
                <a:gd name="T10" fmla="*/ 792 w 804"/>
                <a:gd name="T11" fmla="*/ 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4" h="224">
                  <a:moveTo>
                    <a:pt x="792" y="4"/>
                  </a:moveTo>
                  <a:cubicBezTo>
                    <a:pt x="795" y="20"/>
                    <a:pt x="799" y="38"/>
                    <a:pt x="804" y="61"/>
                  </a:cubicBezTo>
                  <a:cubicBezTo>
                    <a:pt x="539" y="118"/>
                    <a:pt x="277" y="171"/>
                    <a:pt x="13" y="224"/>
                  </a:cubicBezTo>
                  <a:cubicBezTo>
                    <a:pt x="8" y="207"/>
                    <a:pt x="4" y="196"/>
                    <a:pt x="2" y="184"/>
                  </a:cubicBezTo>
                  <a:cubicBezTo>
                    <a:pt x="0" y="178"/>
                    <a:pt x="1" y="171"/>
                    <a:pt x="0" y="166"/>
                  </a:cubicBezTo>
                  <a:cubicBezTo>
                    <a:pt x="32" y="149"/>
                    <a:pt x="757" y="0"/>
                    <a:pt x="79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06" name="Freeform 91">
              <a:extLst>
                <a:ext uri="{FF2B5EF4-FFF2-40B4-BE49-F238E27FC236}">
                  <a16:creationId xmlns:a16="http://schemas.microsoft.com/office/drawing/2014/main" xmlns="" id="{BCA7B6DD-0A17-41FC-AD03-599FCDDF3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375" y="5554663"/>
              <a:ext cx="331788" cy="204788"/>
            </a:xfrm>
            <a:custGeom>
              <a:avLst/>
              <a:gdLst>
                <a:gd name="T0" fmla="*/ 781 w 807"/>
                <a:gd name="T1" fmla="*/ 0 h 250"/>
                <a:gd name="T2" fmla="*/ 790 w 807"/>
                <a:gd name="T3" fmla="*/ 12 h 250"/>
                <a:gd name="T4" fmla="*/ 758 w 807"/>
                <a:gd name="T5" fmla="*/ 75 h 250"/>
                <a:gd name="T6" fmla="*/ 56 w 807"/>
                <a:gd name="T7" fmla="*/ 244 h 250"/>
                <a:gd name="T8" fmla="*/ 17 w 807"/>
                <a:gd name="T9" fmla="*/ 250 h 250"/>
                <a:gd name="T10" fmla="*/ 0 w 807"/>
                <a:gd name="T11" fmla="*/ 189 h 250"/>
                <a:gd name="T12" fmla="*/ 781 w 80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7" h="250">
                  <a:moveTo>
                    <a:pt x="781" y="0"/>
                  </a:moveTo>
                  <a:cubicBezTo>
                    <a:pt x="787" y="8"/>
                    <a:pt x="789" y="10"/>
                    <a:pt x="790" y="12"/>
                  </a:cubicBezTo>
                  <a:cubicBezTo>
                    <a:pt x="807" y="59"/>
                    <a:pt x="805" y="63"/>
                    <a:pt x="758" y="75"/>
                  </a:cubicBezTo>
                  <a:cubicBezTo>
                    <a:pt x="524" y="131"/>
                    <a:pt x="290" y="188"/>
                    <a:pt x="56" y="244"/>
                  </a:cubicBezTo>
                  <a:cubicBezTo>
                    <a:pt x="44" y="247"/>
                    <a:pt x="33" y="248"/>
                    <a:pt x="17" y="250"/>
                  </a:cubicBezTo>
                  <a:cubicBezTo>
                    <a:pt x="11" y="231"/>
                    <a:pt x="6" y="212"/>
                    <a:pt x="0" y="189"/>
                  </a:cubicBezTo>
                  <a:cubicBezTo>
                    <a:pt x="261" y="120"/>
                    <a:pt x="521" y="58"/>
                    <a:pt x="7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07" name="Freeform 92">
              <a:extLst>
                <a:ext uri="{FF2B5EF4-FFF2-40B4-BE49-F238E27FC236}">
                  <a16:creationId xmlns:a16="http://schemas.microsoft.com/office/drawing/2014/main" xmlns="" id="{87492318-48DD-4AF8-B833-3865E380F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5" y="4754563"/>
              <a:ext cx="323850" cy="255588"/>
            </a:xfrm>
            <a:custGeom>
              <a:avLst/>
              <a:gdLst>
                <a:gd name="T0" fmla="*/ 765 w 790"/>
                <a:gd name="T1" fmla="*/ 0 h 311"/>
                <a:gd name="T2" fmla="*/ 790 w 790"/>
                <a:gd name="T3" fmla="*/ 58 h 311"/>
                <a:gd name="T4" fmla="*/ 749 w 790"/>
                <a:gd name="T5" fmla="*/ 78 h 311"/>
                <a:gd name="T6" fmla="*/ 200 w 790"/>
                <a:gd name="T7" fmla="*/ 261 h 311"/>
                <a:gd name="T8" fmla="*/ 19 w 790"/>
                <a:gd name="T9" fmla="*/ 311 h 311"/>
                <a:gd name="T10" fmla="*/ 0 w 790"/>
                <a:gd name="T11" fmla="*/ 246 h 311"/>
                <a:gd name="T12" fmla="*/ 765 w 790"/>
                <a:gd name="T13" fmla="*/ 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0" h="311">
                  <a:moveTo>
                    <a:pt x="765" y="0"/>
                  </a:moveTo>
                  <a:cubicBezTo>
                    <a:pt x="774" y="21"/>
                    <a:pt x="781" y="38"/>
                    <a:pt x="790" y="58"/>
                  </a:cubicBezTo>
                  <a:cubicBezTo>
                    <a:pt x="775" y="66"/>
                    <a:pt x="762" y="73"/>
                    <a:pt x="749" y="78"/>
                  </a:cubicBezTo>
                  <a:cubicBezTo>
                    <a:pt x="570" y="151"/>
                    <a:pt x="386" y="208"/>
                    <a:pt x="200" y="261"/>
                  </a:cubicBezTo>
                  <a:cubicBezTo>
                    <a:pt x="142" y="277"/>
                    <a:pt x="83" y="293"/>
                    <a:pt x="19" y="311"/>
                  </a:cubicBezTo>
                  <a:cubicBezTo>
                    <a:pt x="12" y="289"/>
                    <a:pt x="7" y="270"/>
                    <a:pt x="0" y="246"/>
                  </a:cubicBezTo>
                  <a:cubicBezTo>
                    <a:pt x="260" y="175"/>
                    <a:pt x="515" y="103"/>
                    <a:pt x="76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08" name="Freeform 93">
              <a:extLst>
                <a:ext uri="{FF2B5EF4-FFF2-40B4-BE49-F238E27FC236}">
                  <a16:creationId xmlns:a16="http://schemas.microsoft.com/office/drawing/2014/main" xmlns="" id="{3E4C61FA-3624-4BF4-B4F7-72E3C2B3F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5513" y="5840413"/>
              <a:ext cx="323850" cy="257175"/>
            </a:xfrm>
            <a:custGeom>
              <a:avLst/>
              <a:gdLst>
                <a:gd name="T0" fmla="*/ 22 w 787"/>
                <a:gd name="T1" fmla="*/ 314 h 314"/>
                <a:gd name="T2" fmla="*/ 0 w 787"/>
                <a:gd name="T3" fmla="*/ 257 h 314"/>
                <a:gd name="T4" fmla="*/ 770 w 787"/>
                <a:gd name="T5" fmla="*/ 0 h 314"/>
                <a:gd name="T6" fmla="*/ 787 w 787"/>
                <a:gd name="T7" fmla="*/ 59 h 314"/>
                <a:gd name="T8" fmla="*/ 22 w 787"/>
                <a:gd name="T9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7" h="314">
                  <a:moveTo>
                    <a:pt x="22" y="314"/>
                  </a:moveTo>
                  <a:cubicBezTo>
                    <a:pt x="15" y="295"/>
                    <a:pt x="8" y="278"/>
                    <a:pt x="0" y="257"/>
                  </a:cubicBezTo>
                  <a:cubicBezTo>
                    <a:pt x="254" y="159"/>
                    <a:pt x="509" y="76"/>
                    <a:pt x="770" y="0"/>
                  </a:cubicBezTo>
                  <a:cubicBezTo>
                    <a:pt x="777" y="23"/>
                    <a:pt x="782" y="41"/>
                    <a:pt x="787" y="59"/>
                  </a:cubicBezTo>
                  <a:cubicBezTo>
                    <a:pt x="531" y="145"/>
                    <a:pt x="279" y="229"/>
                    <a:pt x="22" y="3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09" name="Freeform 94">
              <a:extLst>
                <a:ext uri="{FF2B5EF4-FFF2-40B4-BE49-F238E27FC236}">
                  <a16:creationId xmlns:a16="http://schemas.microsoft.com/office/drawing/2014/main" xmlns="" id="{CBEE9D19-28B6-4CD6-9909-7305972BE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0" y="2874963"/>
              <a:ext cx="130175" cy="155575"/>
            </a:xfrm>
            <a:custGeom>
              <a:avLst/>
              <a:gdLst>
                <a:gd name="T0" fmla="*/ 23 w 316"/>
                <a:gd name="T1" fmla="*/ 0 h 190"/>
                <a:gd name="T2" fmla="*/ 316 w 316"/>
                <a:gd name="T3" fmla="*/ 147 h 190"/>
                <a:gd name="T4" fmla="*/ 296 w 316"/>
                <a:gd name="T5" fmla="*/ 190 h 190"/>
                <a:gd name="T6" fmla="*/ 0 w 316"/>
                <a:gd name="T7" fmla="*/ 40 h 190"/>
                <a:gd name="T8" fmla="*/ 23 w 316"/>
                <a:gd name="T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" h="190">
                  <a:moveTo>
                    <a:pt x="23" y="0"/>
                  </a:moveTo>
                  <a:cubicBezTo>
                    <a:pt x="124" y="50"/>
                    <a:pt x="218" y="98"/>
                    <a:pt x="316" y="147"/>
                  </a:cubicBezTo>
                  <a:cubicBezTo>
                    <a:pt x="309" y="161"/>
                    <a:pt x="303" y="173"/>
                    <a:pt x="296" y="190"/>
                  </a:cubicBezTo>
                  <a:cubicBezTo>
                    <a:pt x="194" y="145"/>
                    <a:pt x="96" y="99"/>
                    <a:pt x="0" y="40"/>
                  </a:cubicBezTo>
                  <a:cubicBezTo>
                    <a:pt x="8" y="26"/>
                    <a:pt x="15" y="14"/>
                    <a:pt x="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0" name="Freeform 95">
              <a:extLst>
                <a:ext uri="{FF2B5EF4-FFF2-40B4-BE49-F238E27FC236}">
                  <a16:creationId xmlns:a16="http://schemas.microsoft.com/office/drawing/2014/main" xmlns="" id="{9E74DF55-1E3F-49BA-BDE4-50AC898FE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425" y="3732213"/>
              <a:ext cx="128588" cy="165100"/>
            </a:xfrm>
            <a:custGeom>
              <a:avLst/>
              <a:gdLst>
                <a:gd name="T0" fmla="*/ 0 w 312"/>
                <a:gd name="T1" fmla="*/ 42 h 202"/>
                <a:gd name="T2" fmla="*/ 22 w 312"/>
                <a:gd name="T3" fmla="*/ 0 h 202"/>
                <a:gd name="T4" fmla="*/ 312 w 312"/>
                <a:gd name="T5" fmla="*/ 160 h 202"/>
                <a:gd name="T6" fmla="*/ 286 w 312"/>
                <a:gd name="T7" fmla="*/ 202 h 202"/>
                <a:gd name="T8" fmla="*/ 0 w 312"/>
                <a:gd name="T9" fmla="*/ 4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202">
                  <a:moveTo>
                    <a:pt x="0" y="42"/>
                  </a:moveTo>
                  <a:cubicBezTo>
                    <a:pt x="8" y="27"/>
                    <a:pt x="14" y="16"/>
                    <a:pt x="22" y="0"/>
                  </a:cubicBezTo>
                  <a:cubicBezTo>
                    <a:pt x="122" y="48"/>
                    <a:pt x="215" y="103"/>
                    <a:pt x="312" y="160"/>
                  </a:cubicBezTo>
                  <a:cubicBezTo>
                    <a:pt x="302" y="175"/>
                    <a:pt x="295" y="187"/>
                    <a:pt x="286" y="202"/>
                  </a:cubicBezTo>
                  <a:cubicBezTo>
                    <a:pt x="190" y="148"/>
                    <a:pt x="97" y="97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1" name="Freeform 96">
              <a:extLst>
                <a:ext uri="{FF2B5EF4-FFF2-40B4-BE49-F238E27FC236}">
                  <a16:creationId xmlns:a16="http://schemas.microsoft.com/office/drawing/2014/main" xmlns="" id="{53F9CBA2-34C2-410F-925E-A060AE8DB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000" y="3297238"/>
              <a:ext cx="133350" cy="142875"/>
            </a:xfrm>
            <a:custGeom>
              <a:avLst/>
              <a:gdLst>
                <a:gd name="T0" fmla="*/ 322 w 322"/>
                <a:gd name="T1" fmla="*/ 127 h 174"/>
                <a:gd name="T2" fmla="*/ 304 w 322"/>
                <a:gd name="T3" fmla="*/ 174 h 174"/>
                <a:gd name="T4" fmla="*/ 0 w 322"/>
                <a:gd name="T5" fmla="*/ 47 h 174"/>
                <a:gd name="T6" fmla="*/ 19 w 322"/>
                <a:gd name="T7" fmla="*/ 0 h 174"/>
                <a:gd name="T8" fmla="*/ 322 w 322"/>
                <a:gd name="T9" fmla="*/ 12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2" h="174">
                  <a:moveTo>
                    <a:pt x="322" y="127"/>
                  </a:moveTo>
                  <a:cubicBezTo>
                    <a:pt x="316" y="143"/>
                    <a:pt x="311" y="156"/>
                    <a:pt x="304" y="174"/>
                  </a:cubicBezTo>
                  <a:cubicBezTo>
                    <a:pt x="201" y="131"/>
                    <a:pt x="103" y="90"/>
                    <a:pt x="0" y="47"/>
                  </a:cubicBezTo>
                  <a:cubicBezTo>
                    <a:pt x="7" y="31"/>
                    <a:pt x="12" y="18"/>
                    <a:pt x="19" y="0"/>
                  </a:cubicBezTo>
                  <a:cubicBezTo>
                    <a:pt x="121" y="42"/>
                    <a:pt x="220" y="84"/>
                    <a:pt x="322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2" name="Freeform 97">
              <a:extLst>
                <a:ext uri="{FF2B5EF4-FFF2-40B4-BE49-F238E27FC236}">
                  <a16:creationId xmlns:a16="http://schemas.microsoft.com/office/drawing/2014/main" xmlns="" id="{01C3D2E1-6D32-4DB4-A7AB-A72B7A647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8113" y="3095625"/>
              <a:ext cx="133350" cy="142875"/>
            </a:xfrm>
            <a:custGeom>
              <a:avLst/>
              <a:gdLst>
                <a:gd name="T0" fmla="*/ 0 w 323"/>
                <a:gd name="T1" fmla="*/ 47 h 174"/>
                <a:gd name="T2" fmla="*/ 20 w 323"/>
                <a:gd name="T3" fmla="*/ 0 h 174"/>
                <a:gd name="T4" fmla="*/ 323 w 323"/>
                <a:gd name="T5" fmla="*/ 126 h 174"/>
                <a:gd name="T6" fmla="*/ 305 w 323"/>
                <a:gd name="T7" fmla="*/ 174 h 174"/>
                <a:gd name="T8" fmla="*/ 0 w 323"/>
                <a:gd name="T9" fmla="*/ 4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174">
                  <a:moveTo>
                    <a:pt x="0" y="47"/>
                  </a:moveTo>
                  <a:cubicBezTo>
                    <a:pt x="8" y="29"/>
                    <a:pt x="13" y="17"/>
                    <a:pt x="20" y="0"/>
                  </a:cubicBezTo>
                  <a:cubicBezTo>
                    <a:pt x="121" y="42"/>
                    <a:pt x="219" y="83"/>
                    <a:pt x="323" y="126"/>
                  </a:cubicBezTo>
                  <a:cubicBezTo>
                    <a:pt x="317" y="142"/>
                    <a:pt x="311" y="156"/>
                    <a:pt x="305" y="174"/>
                  </a:cubicBezTo>
                  <a:cubicBezTo>
                    <a:pt x="202" y="131"/>
                    <a:pt x="104" y="90"/>
                    <a:pt x="0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3" name="Freeform 98">
              <a:extLst>
                <a:ext uri="{FF2B5EF4-FFF2-40B4-BE49-F238E27FC236}">
                  <a16:creationId xmlns:a16="http://schemas.microsoft.com/office/drawing/2014/main" xmlns="" id="{55879D9A-D6DB-450A-8AA6-FE49F80D0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975" y="4445000"/>
              <a:ext cx="120650" cy="185738"/>
            </a:xfrm>
            <a:custGeom>
              <a:avLst/>
              <a:gdLst>
                <a:gd name="T0" fmla="*/ 19 w 291"/>
                <a:gd name="T1" fmla="*/ 226 h 226"/>
                <a:gd name="T2" fmla="*/ 6 w 291"/>
                <a:gd name="T3" fmla="*/ 204 h 226"/>
                <a:gd name="T4" fmla="*/ 0 w 291"/>
                <a:gd name="T5" fmla="*/ 180 h 226"/>
                <a:gd name="T6" fmla="*/ 251 w 291"/>
                <a:gd name="T7" fmla="*/ 0 h 226"/>
                <a:gd name="T8" fmla="*/ 291 w 291"/>
                <a:gd name="T9" fmla="*/ 28 h 226"/>
                <a:gd name="T10" fmla="*/ 19 w 291"/>
                <a:gd name="T1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1" h="226">
                  <a:moveTo>
                    <a:pt x="19" y="226"/>
                  </a:moveTo>
                  <a:cubicBezTo>
                    <a:pt x="13" y="215"/>
                    <a:pt x="8" y="210"/>
                    <a:pt x="6" y="204"/>
                  </a:cubicBezTo>
                  <a:cubicBezTo>
                    <a:pt x="3" y="198"/>
                    <a:pt x="2" y="192"/>
                    <a:pt x="0" y="180"/>
                  </a:cubicBezTo>
                  <a:cubicBezTo>
                    <a:pt x="91" y="134"/>
                    <a:pt x="182" y="84"/>
                    <a:pt x="251" y="0"/>
                  </a:cubicBezTo>
                  <a:cubicBezTo>
                    <a:pt x="264" y="9"/>
                    <a:pt x="276" y="17"/>
                    <a:pt x="291" y="28"/>
                  </a:cubicBezTo>
                  <a:cubicBezTo>
                    <a:pt x="219" y="122"/>
                    <a:pt x="123" y="176"/>
                    <a:pt x="19" y="2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4" name="Freeform 99">
              <a:extLst>
                <a:ext uri="{FF2B5EF4-FFF2-40B4-BE49-F238E27FC236}">
                  <a16:creationId xmlns:a16="http://schemas.microsoft.com/office/drawing/2014/main" xmlns="" id="{E85B5991-2F06-45AC-BCEA-03B99A5EA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3888" y="3505200"/>
              <a:ext cx="131763" cy="149225"/>
            </a:xfrm>
            <a:custGeom>
              <a:avLst/>
              <a:gdLst>
                <a:gd name="T0" fmla="*/ 0 w 320"/>
                <a:gd name="T1" fmla="*/ 45 h 181"/>
                <a:gd name="T2" fmla="*/ 11 w 320"/>
                <a:gd name="T3" fmla="*/ 16 h 181"/>
                <a:gd name="T4" fmla="*/ 24 w 320"/>
                <a:gd name="T5" fmla="*/ 0 h 181"/>
                <a:gd name="T6" fmla="*/ 320 w 320"/>
                <a:gd name="T7" fmla="*/ 135 h 181"/>
                <a:gd name="T8" fmla="*/ 298 w 320"/>
                <a:gd name="T9" fmla="*/ 181 h 181"/>
                <a:gd name="T10" fmla="*/ 0 w 320"/>
                <a:gd name="T11" fmla="*/ 4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" h="181">
                  <a:moveTo>
                    <a:pt x="0" y="45"/>
                  </a:moveTo>
                  <a:cubicBezTo>
                    <a:pt x="5" y="31"/>
                    <a:pt x="7" y="23"/>
                    <a:pt x="11" y="16"/>
                  </a:cubicBezTo>
                  <a:cubicBezTo>
                    <a:pt x="13" y="12"/>
                    <a:pt x="17" y="8"/>
                    <a:pt x="24" y="0"/>
                  </a:cubicBezTo>
                  <a:cubicBezTo>
                    <a:pt x="121" y="44"/>
                    <a:pt x="218" y="89"/>
                    <a:pt x="320" y="135"/>
                  </a:cubicBezTo>
                  <a:cubicBezTo>
                    <a:pt x="312" y="152"/>
                    <a:pt x="306" y="164"/>
                    <a:pt x="298" y="181"/>
                  </a:cubicBezTo>
                  <a:cubicBezTo>
                    <a:pt x="198" y="135"/>
                    <a:pt x="101" y="91"/>
                    <a:pt x="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5" name="Freeform 100">
              <a:extLst>
                <a:ext uri="{FF2B5EF4-FFF2-40B4-BE49-F238E27FC236}">
                  <a16:creationId xmlns:a16="http://schemas.microsoft.com/office/drawing/2014/main" xmlns="" id="{001DDCAA-C90E-485B-B7C4-1CD7AE42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2675" y="4010025"/>
              <a:ext cx="107950" cy="217488"/>
            </a:xfrm>
            <a:custGeom>
              <a:avLst/>
              <a:gdLst>
                <a:gd name="T0" fmla="*/ 0 w 262"/>
                <a:gd name="T1" fmla="*/ 37 h 266"/>
                <a:gd name="T2" fmla="*/ 32 w 262"/>
                <a:gd name="T3" fmla="*/ 0 h 266"/>
                <a:gd name="T4" fmla="*/ 262 w 262"/>
                <a:gd name="T5" fmla="*/ 238 h 266"/>
                <a:gd name="T6" fmla="*/ 242 w 262"/>
                <a:gd name="T7" fmla="*/ 256 h 266"/>
                <a:gd name="T8" fmla="*/ 221 w 262"/>
                <a:gd name="T9" fmla="*/ 266 h 266"/>
                <a:gd name="T10" fmla="*/ 0 w 262"/>
                <a:gd name="T11" fmla="*/ 37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2" h="266">
                  <a:moveTo>
                    <a:pt x="0" y="37"/>
                  </a:moveTo>
                  <a:cubicBezTo>
                    <a:pt x="13" y="22"/>
                    <a:pt x="21" y="13"/>
                    <a:pt x="32" y="0"/>
                  </a:cubicBezTo>
                  <a:cubicBezTo>
                    <a:pt x="122" y="69"/>
                    <a:pt x="202" y="142"/>
                    <a:pt x="262" y="238"/>
                  </a:cubicBezTo>
                  <a:cubicBezTo>
                    <a:pt x="253" y="246"/>
                    <a:pt x="248" y="252"/>
                    <a:pt x="242" y="256"/>
                  </a:cubicBezTo>
                  <a:cubicBezTo>
                    <a:pt x="236" y="259"/>
                    <a:pt x="230" y="261"/>
                    <a:pt x="221" y="266"/>
                  </a:cubicBezTo>
                  <a:cubicBezTo>
                    <a:pt x="162" y="177"/>
                    <a:pt x="85" y="106"/>
                    <a:pt x="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6" name="Freeform 101">
              <a:extLst>
                <a:ext uri="{FF2B5EF4-FFF2-40B4-BE49-F238E27FC236}">
                  <a16:creationId xmlns:a16="http://schemas.microsoft.com/office/drawing/2014/main" xmlns="" id="{ABB4DFBA-86F4-4FDB-BB1E-82A995FC0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6463" y="1908175"/>
              <a:ext cx="103188" cy="61913"/>
            </a:xfrm>
            <a:custGeom>
              <a:avLst/>
              <a:gdLst>
                <a:gd name="T0" fmla="*/ 248 w 251"/>
                <a:gd name="T1" fmla="*/ 34 h 76"/>
                <a:gd name="T2" fmla="*/ 98 w 251"/>
                <a:gd name="T3" fmla="*/ 59 h 76"/>
                <a:gd name="T4" fmla="*/ 36 w 251"/>
                <a:gd name="T5" fmla="*/ 68 h 76"/>
                <a:gd name="T6" fmla="*/ 3 w 251"/>
                <a:gd name="T7" fmla="*/ 56 h 76"/>
                <a:gd name="T8" fmla="*/ 33 w 251"/>
                <a:gd name="T9" fmla="*/ 33 h 76"/>
                <a:gd name="T10" fmla="*/ 135 w 251"/>
                <a:gd name="T11" fmla="*/ 16 h 76"/>
                <a:gd name="T12" fmla="*/ 225 w 251"/>
                <a:gd name="T13" fmla="*/ 3 h 76"/>
                <a:gd name="T14" fmla="*/ 248 w 251"/>
                <a:gd name="T15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1" h="76">
                  <a:moveTo>
                    <a:pt x="248" y="34"/>
                  </a:moveTo>
                  <a:cubicBezTo>
                    <a:pt x="197" y="43"/>
                    <a:pt x="148" y="51"/>
                    <a:pt x="98" y="59"/>
                  </a:cubicBezTo>
                  <a:cubicBezTo>
                    <a:pt x="77" y="62"/>
                    <a:pt x="57" y="66"/>
                    <a:pt x="36" y="68"/>
                  </a:cubicBezTo>
                  <a:cubicBezTo>
                    <a:pt x="23" y="69"/>
                    <a:pt x="7" y="76"/>
                    <a:pt x="3" y="56"/>
                  </a:cubicBezTo>
                  <a:cubicBezTo>
                    <a:pt x="0" y="34"/>
                    <a:pt x="20" y="35"/>
                    <a:pt x="33" y="33"/>
                  </a:cubicBezTo>
                  <a:cubicBezTo>
                    <a:pt x="67" y="26"/>
                    <a:pt x="101" y="22"/>
                    <a:pt x="135" y="16"/>
                  </a:cubicBezTo>
                  <a:cubicBezTo>
                    <a:pt x="165" y="12"/>
                    <a:pt x="195" y="7"/>
                    <a:pt x="225" y="3"/>
                  </a:cubicBezTo>
                  <a:cubicBezTo>
                    <a:pt x="244" y="0"/>
                    <a:pt x="251" y="10"/>
                    <a:pt x="24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7" name="Freeform 102">
              <a:extLst>
                <a:ext uri="{FF2B5EF4-FFF2-40B4-BE49-F238E27FC236}">
                  <a16:creationId xmlns:a16="http://schemas.microsoft.com/office/drawing/2014/main" xmlns="" id="{F52DC87E-5F2C-47BA-B4DD-611B1DD6C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1725" y="1847850"/>
              <a:ext cx="103188" cy="57150"/>
            </a:xfrm>
            <a:custGeom>
              <a:avLst/>
              <a:gdLst>
                <a:gd name="T0" fmla="*/ 19 w 252"/>
                <a:gd name="T1" fmla="*/ 71 h 71"/>
                <a:gd name="T2" fmla="*/ 3 w 252"/>
                <a:gd name="T3" fmla="*/ 53 h 71"/>
                <a:gd name="T4" fmla="*/ 23 w 252"/>
                <a:gd name="T5" fmla="*/ 34 h 71"/>
                <a:gd name="T6" fmla="*/ 220 w 252"/>
                <a:gd name="T7" fmla="*/ 2 h 71"/>
                <a:gd name="T8" fmla="*/ 248 w 252"/>
                <a:gd name="T9" fmla="*/ 15 h 71"/>
                <a:gd name="T10" fmla="*/ 226 w 252"/>
                <a:gd name="T11" fmla="*/ 37 h 71"/>
                <a:gd name="T12" fmla="*/ 77 w 252"/>
                <a:gd name="T13" fmla="*/ 61 h 71"/>
                <a:gd name="T14" fmla="*/ 19 w 252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71">
                  <a:moveTo>
                    <a:pt x="19" y="71"/>
                  </a:moveTo>
                  <a:cubicBezTo>
                    <a:pt x="15" y="66"/>
                    <a:pt x="5" y="61"/>
                    <a:pt x="3" y="53"/>
                  </a:cubicBezTo>
                  <a:cubicBezTo>
                    <a:pt x="0" y="39"/>
                    <a:pt x="13" y="36"/>
                    <a:pt x="23" y="34"/>
                  </a:cubicBezTo>
                  <a:cubicBezTo>
                    <a:pt x="89" y="23"/>
                    <a:pt x="154" y="12"/>
                    <a:pt x="220" y="2"/>
                  </a:cubicBezTo>
                  <a:cubicBezTo>
                    <a:pt x="232" y="0"/>
                    <a:pt x="245" y="0"/>
                    <a:pt x="248" y="15"/>
                  </a:cubicBezTo>
                  <a:cubicBezTo>
                    <a:pt x="252" y="32"/>
                    <a:pt x="239" y="35"/>
                    <a:pt x="226" y="37"/>
                  </a:cubicBezTo>
                  <a:cubicBezTo>
                    <a:pt x="177" y="45"/>
                    <a:pt x="127" y="53"/>
                    <a:pt x="77" y="61"/>
                  </a:cubicBezTo>
                  <a:cubicBezTo>
                    <a:pt x="60" y="64"/>
                    <a:pt x="43" y="67"/>
                    <a:pt x="19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8" name="Freeform 103">
              <a:extLst>
                <a:ext uri="{FF2B5EF4-FFF2-40B4-BE49-F238E27FC236}">
                  <a16:creationId xmlns:a16="http://schemas.microsoft.com/office/drawing/2014/main" xmlns="" id="{24A26656-B76B-47F8-B61A-701E86253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4938" y="2205038"/>
              <a:ext cx="100013" cy="77788"/>
            </a:xfrm>
            <a:custGeom>
              <a:avLst/>
              <a:gdLst>
                <a:gd name="T0" fmla="*/ 242 w 242"/>
                <a:gd name="T1" fmla="*/ 29 h 95"/>
                <a:gd name="T2" fmla="*/ 219 w 242"/>
                <a:gd name="T3" fmla="*/ 39 h 95"/>
                <a:gd name="T4" fmla="*/ 31 w 242"/>
                <a:gd name="T5" fmla="*/ 91 h 95"/>
                <a:gd name="T6" fmla="*/ 16 w 242"/>
                <a:gd name="T7" fmla="*/ 94 h 95"/>
                <a:gd name="T8" fmla="*/ 1 w 242"/>
                <a:gd name="T9" fmla="*/ 85 h 95"/>
                <a:gd name="T10" fmla="*/ 6 w 242"/>
                <a:gd name="T11" fmla="*/ 64 h 95"/>
                <a:gd name="T12" fmla="*/ 20 w 242"/>
                <a:gd name="T13" fmla="*/ 58 h 95"/>
                <a:gd name="T14" fmla="*/ 207 w 242"/>
                <a:gd name="T15" fmla="*/ 5 h 95"/>
                <a:gd name="T16" fmla="*/ 242 w 242"/>
                <a:gd name="T17" fmla="*/ 29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5">
                  <a:moveTo>
                    <a:pt x="242" y="29"/>
                  </a:moveTo>
                  <a:cubicBezTo>
                    <a:pt x="233" y="33"/>
                    <a:pt x="226" y="37"/>
                    <a:pt x="219" y="39"/>
                  </a:cubicBezTo>
                  <a:cubicBezTo>
                    <a:pt x="156" y="57"/>
                    <a:pt x="94" y="74"/>
                    <a:pt x="31" y="91"/>
                  </a:cubicBezTo>
                  <a:cubicBezTo>
                    <a:pt x="26" y="92"/>
                    <a:pt x="21" y="95"/>
                    <a:pt x="16" y="94"/>
                  </a:cubicBezTo>
                  <a:cubicBezTo>
                    <a:pt x="10" y="93"/>
                    <a:pt x="2" y="89"/>
                    <a:pt x="1" y="85"/>
                  </a:cubicBezTo>
                  <a:cubicBezTo>
                    <a:pt x="0" y="78"/>
                    <a:pt x="2" y="70"/>
                    <a:pt x="6" y="64"/>
                  </a:cubicBezTo>
                  <a:cubicBezTo>
                    <a:pt x="8" y="60"/>
                    <a:pt x="15" y="59"/>
                    <a:pt x="20" y="58"/>
                  </a:cubicBezTo>
                  <a:cubicBezTo>
                    <a:pt x="82" y="40"/>
                    <a:pt x="145" y="23"/>
                    <a:pt x="207" y="5"/>
                  </a:cubicBezTo>
                  <a:cubicBezTo>
                    <a:pt x="224" y="1"/>
                    <a:pt x="239" y="0"/>
                    <a:pt x="242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19" name="Freeform 104">
              <a:extLst>
                <a:ext uri="{FF2B5EF4-FFF2-40B4-BE49-F238E27FC236}">
                  <a16:creationId xmlns:a16="http://schemas.microsoft.com/office/drawing/2014/main" xmlns="" id="{4C447A74-2616-4834-BCB5-F1D9A6FC0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5400" y="1778000"/>
              <a:ext cx="103188" cy="61913"/>
            </a:xfrm>
            <a:custGeom>
              <a:avLst/>
              <a:gdLst>
                <a:gd name="T0" fmla="*/ 20 w 248"/>
                <a:gd name="T1" fmla="*/ 77 h 77"/>
                <a:gd name="T2" fmla="*/ 4 w 248"/>
                <a:gd name="T3" fmla="*/ 60 h 77"/>
                <a:gd name="T4" fmla="*/ 22 w 248"/>
                <a:gd name="T5" fmla="*/ 39 h 77"/>
                <a:gd name="T6" fmla="*/ 155 w 248"/>
                <a:gd name="T7" fmla="*/ 14 h 77"/>
                <a:gd name="T8" fmla="*/ 226 w 248"/>
                <a:gd name="T9" fmla="*/ 1 h 77"/>
                <a:gd name="T10" fmla="*/ 246 w 248"/>
                <a:gd name="T11" fmla="*/ 13 h 77"/>
                <a:gd name="T12" fmla="*/ 235 w 248"/>
                <a:gd name="T13" fmla="*/ 33 h 77"/>
                <a:gd name="T14" fmla="*/ 20 w 248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77">
                  <a:moveTo>
                    <a:pt x="20" y="77"/>
                  </a:moveTo>
                  <a:cubicBezTo>
                    <a:pt x="15" y="72"/>
                    <a:pt x="6" y="67"/>
                    <a:pt x="4" y="60"/>
                  </a:cubicBezTo>
                  <a:cubicBezTo>
                    <a:pt x="0" y="47"/>
                    <a:pt x="11" y="41"/>
                    <a:pt x="22" y="39"/>
                  </a:cubicBezTo>
                  <a:cubicBezTo>
                    <a:pt x="66" y="30"/>
                    <a:pt x="111" y="22"/>
                    <a:pt x="155" y="14"/>
                  </a:cubicBezTo>
                  <a:cubicBezTo>
                    <a:pt x="179" y="9"/>
                    <a:pt x="202" y="4"/>
                    <a:pt x="226" y="1"/>
                  </a:cubicBezTo>
                  <a:cubicBezTo>
                    <a:pt x="232" y="0"/>
                    <a:pt x="244" y="7"/>
                    <a:pt x="246" y="13"/>
                  </a:cubicBezTo>
                  <a:cubicBezTo>
                    <a:pt x="248" y="18"/>
                    <a:pt x="241" y="32"/>
                    <a:pt x="235" y="33"/>
                  </a:cubicBezTo>
                  <a:cubicBezTo>
                    <a:pt x="165" y="48"/>
                    <a:pt x="95" y="62"/>
                    <a:pt x="20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0" name="Freeform 105">
              <a:extLst>
                <a:ext uri="{FF2B5EF4-FFF2-40B4-BE49-F238E27FC236}">
                  <a16:creationId xmlns:a16="http://schemas.microsoft.com/office/drawing/2014/main" xmlns="" id="{6CA85A20-84D6-4E67-91A8-1C69DA8D1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200" y="1970088"/>
              <a:ext cx="104775" cy="61913"/>
            </a:xfrm>
            <a:custGeom>
              <a:avLst/>
              <a:gdLst>
                <a:gd name="T0" fmla="*/ 243 w 253"/>
                <a:gd name="T1" fmla="*/ 0 h 75"/>
                <a:gd name="T2" fmla="*/ 234 w 253"/>
                <a:gd name="T3" fmla="*/ 37 h 75"/>
                <a:gd name="T4" fmla="*/ 12 w 253"/>
                <a:gd name="T5" fmla="*/ 75 h 75"/>
                <a:gd name="T6" fmla="*/ 20 w 253"/>
                <a:gd name="T7" fmla="*/ 38 h 75"/>
                <a:gd name="T8" fmla="*/ 243 w 253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75">
                  <a:moveTo>
                    <a:pt x="243" y="0"/>
                  </a:moveTo>
                  <a:cubicBezTo>
                    <a:pt x="253" y="22"/>
                    <a:pt x="252" y="34"/>
                    <a:pt x="234" y="37"/>
                  </a:cubicBezTo>
                  <a:cubicBezTo>
                    <a:pt x="160" y="50"/>
                    <a:pt x="86" y="62"/>
                    <a:pt x="12" y="75"/>
                  </a:cubicBezTo>
                  <a:cubicBezTo>
                    <a:pt x="1" y="56"/>
                    <a:pt x="0" y="42"/>
                    <a:pt x="20" y="38"/>
                  </a:cubicBezTo>
                  <a:cubicBezTo>
                    <a:pt x="94" y="25"/>
                    <a:pt x="168" y="13"/>
                    <a:pt x="24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1" name="Freeform 106">
              <a:extLst>
                <a:ext uri="{FF2B5EF4-FFF2-40B4-BE49-F238E27FC236}">
                  <a16:creationId xmlns:a16="http://schemas.microsoft.com/office/drawing/2014/main" xmlns="" id="{4A0F0213-9D50-4A01-A1B7-99A91691E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5850" y="2497138"/>
              <a:ext cx="57150" cy="184150"/>
            </a:xfrm>
            <a:custGeom>
              <a:avLst/>
              <a:gdLst>
                <a:gd name="T0" fmla="*/ 139 w 139"/>
                <a:gd name="T1" fmla="*/ 29 h 223"/>
                <a:gd name="T2" fmla="*/ 36 w 139"/>
                <a:gd name="T3" fmla="*/ 216 h 223"/>
                <a:gd name="T4" fmla="*/ 2 w 139"/>
                <a:gd name="T5" fmla="*/ 198 h 223"/>
                <a:gd name="T6" fmla="*/ 16 w 139"/>
                <a:gd name="T7" fmla="*/ 133 h 223"/>
                <a:gd name="T8" fmla="*/ 103 w 139"/>
                <a:gd name="T9" fmla="*/ 16 h 223"/>
                <a:gd name="T10" fmla="*/ 139 w 139"/>
                <a:gd name="T11" fmla="*/ 2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223">
                  <a:moveTo>
                    <a:pt x="139" y="29"/>
                  </a:moveTo>
                  <a:cubicBezTo>
                    <a:pt x="84" y="79"/>
                    <a:pt x="33" y="134"/>
                    <a:pt x="36" y="216"/>
                  </a:cubicBezTo>
                  <a:cubicBezTo>
                    <a:pt x="6" y="223"/>
                    <a:pt x="0" y="221"/>
                    <a:pt x="2" y="198"/>
                  </a:cubicBezTo>
                  <a:cubicBezTo>
                    <a:pt x="4" y="176"/>
                    <a:pt x="9" y="154"/>
                    <a:pt x="16" y="133"/>
                  </a:cubicBezTo>
                  <a:cubicBezTo>
                    <a:pt x="33" y="85"/>
                    <a:pt x="66" y="49"/>
                    <a:pt x="103" y="16"/>
                  </a:cubicBezTo>
                  <a:cubicBezTo>
                    <a:pt x="120" y="0"/>
                    <a:pt x="130" y="6"/>
                    <a:pt x="139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2" name="Freeform 107">
              <a:extLst>
                <a:ext uri="{FF2B5EF4-FFF2-40B4-BE49-F238E27FC236}">
                  <a16:creationId xmlns:a16="http://schemas.microsoft.com/office/drawing/2014/main" xmlns="" id="{4BB3EDC8-2E2B-4630-BC6C-95FCFC68F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7025" y="2116138"/>
              <a:ext cx="100013" cy="66675"/>
            </a:xfrm>
            <a:custGeom>
              <a:avLst/>
              <a:gdLst>
                <a:gd name="T0" fmla="*/ 228 w 246"/>
                <a:gd name="T1" fmla="*/ 0 h 82"/>
                <a:gd name="T2" fmla="*/ 242 w 246"/>
                <a:gd name="T3" fmla="*/ 17 h 82"/>
                <a:gd name="T4" fmla="*/ 224 w 246"/>
                <a:gd name="T5" fmla="*/ 37 h 82"/>
                <a:gd name="T6" fmla="*/ 72 w 246"/>
                <a:gd name="T7" fmla="*/ 71 h 82"/>
                <a:gd name="T8" fmla="*/ 21 w 246"/>
                <a:gd name="T9" fmla="*/ 81 h 82"/>
                <a:gd name="T10" fmla="*/ 0 w 246"/>
                <a:gd name="T11" fmla="*/ 69 h 82"/>
                <a:gd name="T12" fmla="*/ 14 w 246"/>
                <a:gd name="T13" fmla="*/ 49 h 82"/>
                <a:gd name="T14" fmla="*/ 44 w 246"/>
                <a:gd name="T15" fmla="*/ 41 h 82"/>
                <a:gd name="T16" fmla="*/ 199 w 246"/>
                <a:gd name="T17" fmla="*/ 6 h 82"/>
                <a:gd name="T18" fmla="*/ 228 w 246"/>
                <a:gd name="T1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82">
                  <a:moveTo>
                    <a:pt x="228" y="0"/>
                  </a:moveTo>
                  <a:cubicBezTo>
                    <a:pt x="232" y="5"/>
                    <a:pt x="240" y="10"/>
                    <a:pt x="242" y="17"/>
                  </a:cubicBezTo>
                  <a:cubicBezTo>
                    <a:pt x="246" y="30"/>
                    <a:pt x="235" y="35"/>
                    <a:pt x="224" y="37"/>
                  </a:cubicBezTo>
                  <a:cubicBezTo>
                    <a:pt x="173" y="48"/>
                    <a:pt x="123" y="59"/>
                    <a:pt x="72" y="71"/>
                  </a:cubicBezTo>
                  <a:cubicBezTo>
                    <a:pt x="55" y="74"/>
                    <a:pt x="38" y="80"/>
                    <a:pt x="21" y="81"/>
                  </a:cubicBezTo>
                  <a:cubicBezTo>
                    <a:pt x="15" y="82"/>
                    <a:pt x="7" y="74"/>
                    <a:pt x="0" y="69"/>
                  </a:cubicBezTo>
                  <a:cubicBezTo>
                    <a:pt x="4" y="63"/>
                    <a:pt x="7" y="53"/>
                    <a:pt x="14" y="49"/>
                  </a:cubicBezTo>
                  <a:cubicBezTo>
                    <a:pt x="22" y="44"/>
                    <a:pt x="34" y="43"/>
                    <a:pt x="44" y="41"/>
                  </a:cubicBezTo>
                  <a:cubicBezTo>
                    <a:pt x="96" y="29"/>
                    <a:pt x="148" y="18"/>
                    <a:pt x="199" y="6"/>
                  </a:cubicBezTo>
                  <a:cubicBezTo>
                    <a:pt x="207" y="4"/>
                    <a:pt x="215" y="3"/>
                    <a:pt x="2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3" name="Freeform 108">
              <a:extLst>
                <a:ext uri="{FF2B5EF4-FFF2-40B4-BE49-F238E27FC236}">
                  <a16:creationId xmlns:a16="http://schemas.microsoft.com/office/drawing/2014/main" xmlns="" id="{DD9B6324-BCE7-497B-9B0E-FC44AAACE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7525" y="2039938"/>
              <a:ext cx="103188" cy="61913"/>
            </a:xfrm>
            <a:custGeom>
              <a:avLst/>
              <a:gdLst>
                <a:gd name="T0" fmla="*/ 11 w 252"/>
                <a:gd name="T1" fmla="*/ 76 h 76"/>
                <a:gd name="T2" fmla="*/ 20 w 252"/>
                <a:gd name="T3" fmla="*/ 40 h 76"/>
                <a:gd name="T4" fmla="*/ 227 w 252"/>
                <a:gd name="T5" fmla="*/ 1 h 76"/>
                <a:gd name="T6" fmla="*/ 247 w 252"/>
                <a:gd name="T7" fmla="*/ 13 h 76"/>
                <a:gd name="T8" fmla="*/ 232 w 252"/>
                <a:gd name="T9" fmla="*/ 35 h 76"/>
                <a:gd name="T10" fmla="*/ 69 w 252"/>
                <a:gd name="T11" fmla="*/ 66 h 76"/>
                <a:gd name="T12" fmla="*/ 11 w 252"/>
                <a:gd name="T1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2" h="76">
                  <a:moveTo>
                    <a:pt x="11" y="76"/>
                  </a:moveTo>
                  <a:cubicBezTo>
                    <a:pt x="0" y="57"/>
                    <a:pt x="0" y="44"/>
                    <a:pt x="20" y="40"/>
                  </a:cubicBezTo>
                  <a:cubicBezTo>
                    <a:pt x="89" y="26"/>
                    <a:pt x="158" y="13"/>
                    <a:pt x="227" y="1"/>
                  </a:cubicBezTo>
                  <a:cubicBezTo>
                    <a:pt x="233" y="0"/>
                    <a:pt x="245" y="7"/>
                    <a:pt x="247" y="13"/>
                  </a:cubicBezTo>
                  <a:cubicBezTo>
                    <a:pt x="252" y="24"/>
                    <a:pt x="245" y="32"/>
                    <a:pt x="232" y="35"/>
                  </a:cubicBezTo>
                  <a:cubicBezTo>
                    <a:pt x="178" y="45"/>
                    <a:pt x="123" y="56"/>
                    <a:pt x="69" y="66"/>
                  </a:cubicBezTo>
                  <a:cubicBezTo>
                    <a:pt x="50" y="70"/>
                    <a:pt x="30" y="73"/>
                    <a:pt x="11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4" name="Freeform 109">
              <a:extLst>
                <a:ext uri="{FF2B5EF4-FFF2-40B4-BE49-F238E27FC236}">
                  <a16:creationId xmlns:a16="http://schemas.microsoft.com/office/drawing/2014/main" xmlns="" id="{C8C64B50-C695-4618-B886-562FA794E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2322513"/>
              <a:ext cx="101600" cy="98425"/>
            </a:xfrm>
            <a:custGeom>
              <a:avLst/>
              <a:gdLst>
                <a:gd name="T0" fmla="*/ 19 w 245"/>
                <a:gd name="T1" fmla="*/ 120 h 120"/>
                <a:gd name="T2" fmla="*/ 18 w 245"/>
                <a:gd name="T3" fmla="*/ 84 h 120"/>
                <a:gd name="T4" fmla="*/ 217 w 245"/>
                <a:gd name="T5" fmla="*/ 2 h 120"/>
                <a:gd name="T6" fmla="*/ 239 w 245"/>
                <a:gd name="T7" fmla="*/ 11 h 120"/>
                <a:gd name="T8" fmla="*/ 227 w 245"/>
                <a:gd name="T9" fmla="*/ 35 h 120"/>
                <a:gd name="T10" fmla="*/ 171 w 245"/>
                <a:gd name="T11" fmla="*/ 56 h 120"/>
                <a:gd name="T12" fmla="*/ 19 w 245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120">
                  <a:moveTo>
                    <a:pt x="19" y="120"/>
                  </a:moveTo>
                  <a:cubicBezTo>
                    <a:pt x="6" y="104"/>
                    <a:pt x="0" y="92"/>
                    <a:pt x="18" y="84"/>
                  </a:cubicBezTo>
                  <a:cubicBezTo>
                    <a:pt x="84" y="56"/>
                    <a:pt x="150" y="28"/>
                    <a:pt x="217" y="2"/>
                  </a:cubicBezTo>
                  <a:cubicBezTo>
                    <a:pt x="222" y="0"/>
                    <a:pt x="235" y="5"/>
                    <a:pt x="239" y="11"/>
                  </a:cubicBezTo>
                  <a:cubicBezTo>
                    <a:pt x="245" y="22"/>
                    <a:pt x="239" y="30"/>
                    <a:pt x="227" y="35"/>
                  </a:cubicBezTo>
                  <a:cubicBezTo>
                    <a:pt x="208" y="42"/>
                    <a:pt x="189" y="49"/>
                    <a:pt x="171" y="56"/>
                  </a:cubicBezTo>
                  <a:cubicBezTo>
                    <a:pt x="121" y="77"/>
                    <a:pt x="71" y="98"/>
                    <a:pt x="19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5" name="Freeform 110">
              <a:extLst>
                <a:ext uri="{FF2B5EF4-FFF2-40B4-BE49-F238E27FC236}">
                  <a16:creationId xmlns:a16="http://schemas.microsoft.com/office/drawing/2014/main" xmlns="" id="{FEE7CA43-AB5D-46CE-B435-91ED7CACD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9075" y="1689100"/>
              <a:ext cx="103188" cy="73025"/>
            </a:xfrm>
            <a:custGeom>
              <a:avLst/>
              <a:gdLst>
                <a:gd name="T0" fmla="*/ 241 w 251"/>
                <a:gd name="T1" fmla="*/ 2 h 88"/>
                <a:gd name="T2" fmla="*/ 228 w 251"/>
                <a:gd name="T3" fmla="*/ 36 h 88"/>
                <a:gd name="T4" fmla="*/ 31 w 251"/>
                <a:gd name="T5" fmla="*/ 85 h 88"/>
                <a:gd name="T6" fmla="*/ 3 w 251"/>
                <a:gd name="T7" fmla="*/ 72 h 88"/>
                <a:gd name="T8" fmla="*/ 21 w 251"/>
                <a:gd name="T9" fmla="*/ 51 h 88"/>
                <a:gd name="T10" fmla="*/ 222 w 251"/>
                <a:gd name="T11" fmla="*/ 1 h 88"/>
                <a:gd name="T12" fmla="*/ 241 w 251"/>
                <a:gd name="T13" fmla="*/ 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88">
                  <a:moveTo>
                    <a:pt x="241" y="2"/>
                  </a:moveTo>
                  <a:cubicBezTo>
                    <a:pt x="251" y="23"/>
                    <a:pt x="243" y="32"/>
                    <a:pt x="228" y="36"/>
                  </a:cubicBezTo>
                  <a:cubicBezTo>
                    <a:pt x="162" y="52"/>
                    <a:pt x="97" y="69"/>
                    <a:pt x="31" y="85"/>
                  </a:cubicBezTo>
                  <a:cubicBezTo>
                    <a:pt x="19" y="87"/>
                    <a:pt x="7" y="88"/>
                    <a:pt x="3" y="72"/>
                  </a:cubicBezTo>
                  <a:cubicBezTo>
                    <a:pt x="0" y="57"/>
                    <a:pt x="11" y="53"/>
                    <a:pt x="21" y="51"/>
                  </a:cubicBezTo>
                  <a:cubicBezTo>
                    <a:pt x="88" y="34"/>
                    <a:pt x="155" y="17"/>
                    <a:pt x="222" y="1"/>
                  </a:cubicBezTo>
                  <a:cubicBezTo>
                    <a:pt x="228" y="0"/>
                    <a:pt x="234" y="2"/>
                    <a:pt x="24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6" name="Freeform 111">
              <a:extLst>
                <a:ext uri="{FF2B5EF4-FFF2-40B4-BE49-F238E27FC236}">
                  <a16:creationId xmlns:a16="http://schemas.microsoft.com/office/drawing/2014/main" xmlns="" id="{CDE48E1F-49B0-4DC1-B56A-52871089C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5" y="1565275"/>
              <a:ext cx="100013" cy="92075"/>
            </a:xfrm>
            <a:custGeom>
              <a:avLst/>
              <a:gdLst>
                <a:gd name="T0" fmla="*/ 228 w 244"/>
                <a:gd name="T1" fmla="*/ 0 h 111"/>
                <a:gd name="T2" fmla="*/ 224 w 244"/>
                <a:gd name="T3" fmla="*/ 37 h 111"/>
                <a:gd name="T4" fmla="*/ 29 w 244"/>
                <a:gd name="T5" fmla="*/ 107 h 111"/>
                <a:gd name="T6" fmla="*/ 14 w 244"/>
                <a:gd name="T7" fmla="*/ 109 h 111"/>
                <a:gd name="T8" fmla="*/ 2 w 244"/>
                <a:gd name="T9" fmla="*/ 95 h 111"/>
                <a:gd name="T10" fmla="*/ 5 w 244"/>
                <a:gd name="T11" fmla="*/ 81 h 111"/>
                <a:gd name="T12" fmla="*/ 19 w 244"/>
                <a:gd name="T13" fmla="*/ 74 h 111"/>
                <a:gd name="T14" fmla="*/ 228 w 244"/>
                <a:gd name="T1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111">
                  <a:moveTo>
                    <a:pt x="228" y="0"/>
                  </a:moveTo>
                  <a:cubicBezTo>
                    <a:pt x="239" y="17"/>
                    <a:pt x="244" y="30"/>
                    <a:pt x="224" y="37"/>
                  </a:cubicBezTo>
                  <a:cubicBezTo>
                    <a:pt x="159" y="61"/>
                    <a:pt x="94" y="84"/>
                    <a:pt x="29" y="107"/>
                  </a:cubicBezTo>
                  <a:cubicBezTo>
                    <a:pt x="25" y="109"/>
                    <a:pt x="18" y="111"/>
                    <a:pt x="14" y="109"/>
                  </a:cubicBezTo>
                  <a:cubicBezTo>
                    <a:pt x="9" y="106"/>
                    <a:pt x="4" y="101"/>
                    <a:pt x="2" y="95"/>
                  </a:cubicBezTo>
                  <a:cubicBezTo>
                    <a:pt x="0" y="92"/>
                    <a:pt x="2" y="85"/>
                    <a:pt x="5" y="81"/>
                  </a:cubicBezTo>
                  <a:cubicBezTo>
                    <a:pt x="8" y="78"/>
                    <a:pt x="14" y="75"/>
                    <a:pt x="19" y="74"/>
                  </a:cubicBezTo>
                  <a:cubicBezTo>
                    <a:pt x="87" y="49"/>
                    <a:pt x="156" y="25"/>
                    <a:pt x="2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7" name="Freeform 112">
              <a:extLst>
                <a:ext uri="{FF2B5EF4-FFF2-40B4-BE49-F238E27FC236}">
                  <a16:creationId xmlns:a16="http://schemas.microsoft.com/office/drawing/2014/main" xmlns="" id="{E9EA0E3A-7B55-4821-B665-867168373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5888" y="1001713"/>
              <a:ext cx="71438" cy="44450"/>
            </a:xfrm>
            <a:custGeom>
              <a:avLst/>
              <a:gdLst>
                <a:gd name="T0" fmla="*/ 172 w 172"/>
                <a:gd name="T1" fmla="*/ 45 h 54"/>
                <a:gd name="T2" fmla="*/ 157 w 172"/>
                <a:gd name="T3" fmla="*/ 53 h 54"/>
                <a:gd name="T4" fmla="*/ 0 w 172"/>
                <a:gd name="T5" fmla="*/ 16 h 54"/>
                <a:gd name="T6" fmla="*/ 16 w 172"/>
                <a:gd name="T7" fmla="*/ 0 h 54"/>
                <a:gd name="T8" fmla="*/ 171 w 172"/>
                <a:gd name="T9" fmla="*/ 33 h 54"/>
                <a:gd name="T10" fmla="*/ 172 w 172"/>
                <a:gd name="T11" fmla="*/ 4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" h="54">
                  <a:moveTo>
                    <a:pt x="172" y="45"/>
                  </a:moveTo>
                  <a:cubicBezTo>
                    <a:pt x="167" y="48"/>
                    <a:pt x="161" y="54"/>
                    <a:pt x="157" y="53"/>
                  </a:cubicBezTo>
                  <a:cubicBezTo>
                    <a:pt x="105" y="45"/>
                    <a:pt x="54" y="35"/>
                    <a:pt x="0" y="16"/>
                  </a:cubicBezTo>
                  <a:cubicBezTo>
                    <a:pt x="8" y="8"/>
                    <a:pt x="12" y="0"/>
                    <a:pt x="16" y="0"/>
                  </a:cubicBezTo>
                  <a:cubicBezTo>
                    <a:pt x="69" y="3"/>
                    <a:pt x="120" y="19"/>
                    <a:pt x="171" y="33"/>
                  </a:cubicBezTo>
                  <a:cubicBezTo>
                    <a:pt x="172" y="37"/>
                    <a:pt x="172" y="41"/>
                    <a:pt x="172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8" name="Freeform 113">
              <a:extLst>
                <a:ext uri="{FF2B5EF4-FFF2-40B4-BE49-F238E27FC236}">
                  <a16:creationId xmlns:a16="http://schemas.microsoft.com/office/drawing/2014/main" xmlns="" id="{2E4423BD-43C3-408C-A3A3-E7C395268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0" y="890588"/>
              <a:ext cx="71438" cy="44450"/>
            </a:xfrm>
            <a:custGeom>
              <a:avLst/>
              <a:gdLst>
                <a:gd name="T0" fmla="*/ 171 w 171"/>
                <a:gd name="T1" fmla="*/ 35 h 54"/>
                <a:gd name="T2" fmla="*/ 150 w 171"/>
                <a:gd name="T3" fmla="*/ 53 h 54"/>
                <a:gd name="T4" fmla="*/ 9 w 171"/>
                <a:gd name="T5" fmla="*/ 25 h 54"/>
                <a:gd name="T6" fmla="*/ 1 w 171"/>
                <a:gd name="T7" fmla="*/ 10 h 54"/>
                <a:gd name="T8" fmla="*/ 14 w 171"/>
                <a:gd name="T9" fmla="*/ 0 h 54"/>
                <a:gd name="T10" fmla="*/ 171 w 171"/>
                <a:gd name="T11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54">
                  <a:moveTo>
                    <a:pt x="171" y="35"/>
                  </a:moveTo>
                  <a:cubicBezTo>
                    <a:pt x="160" y="45"/>
                    <a:pt x="154" y="54"/>
                    <a:pt x="150" y="53"/>
                  </a:cubicBezTo>
                  <a:cubicBezTo>
                    <a:pt x="103" y="45"/>
                    <a:pt x="56" y="35"/>
                    <a:pt x="9" y="25"/>
                  </a:cubicBezTo>
                  <a:cubicBezTo>
                    <a:pt x="5" y="24"/>
                    <a:pt x="0" y="15"/>
                    <a:pt x="1" y="10"/>
                  </a:cubicBezTo>
                  <a:cubicBezTo>
                    <a:pt x="1" y="6"/>
                    <a:pt x="10" y="0"/>
                    <a:pt x="14" y="0"/>
                  </a:cubicBezTo>
                  <a:cubicBezTo>
                    <a:pt x="64" y="10"/>
                    <a:pt x="115" y="17"/>
                    <a:pt x="171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29" name="Freeform 114">
              <a:extLst>
                <a:ext uri="{FF2B5EF4-FFF2-40B4-BE49-F238E27FC236}">
                  <a16:creationId xmlns:a16="http://schemas.microsoft.com/office/drawing/2014/main" xmlns="" id="{6D125CAA-8086-4607-8EC4-E691CBEB2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5" y="942975"/>
              <a:ext cx="68263" cy="46038"/>
            </a:xfrm>
            <a:custGeom>
              <a:avLst/>
              <a:gdLst>
                <a:gd name="T0" fmla="*/ 167 w 167"/>
                <a:gd name="T1" fmla="*/ 46 h 56"/>
                <a:gd name="T2" fmla="*/ 149 w 167"/>
                <a:gd name="T3" fmla="*/ 55 h 56"/>
                <a:gd name="T4" fmla="*/ 10 w 167"/>
                <a:gd name="T5" fmla="*/ 25 h 56"/>
                <a:gd name="T6" fmla="*/ 0 w 167"/>
                <a:gd name="T7" fmla="*/ 11 h 56"/>
                <a:gd name="T8" fmla="*/ 14 w 167"/>
                <a:gd name="T9" fmla="*/ 1 h 56"/>
                <a:gd name="T10" fmla="*/ 153 w 167"/>
                <a:gd name="T11" fmla="*/ 31 h 56"/>
                <a:gd name="T12" fmla="*/ 167 w 167"/>
                <a:gd name="T13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56">
                  <a:moveTo>
                    <a:pt x="167" y="46"/>
                  </a:moveTo>
                  <a:cubicBezTo>
                    <a:pt x="159" y="50"/>
                    <a:pt x="153" y="56"/>
                    <a:pt x="149" y="55"/>
                  </a:cubicBezTo>
                  <a:cubicBezTo>
                    <a:pt x="102" y="46"/>
                    <a:pt x="56" y="36"/>
                    <a:pt x="10" y="25"/>
                  </a:cubicBezTo>
                  <a:cubicBezTo>
                    <a:pt x="5" y="24"/>
                    <a:pt x="0" y="15"/>
                    <a:pt x="0" y="11"/>
                  </a:cubicBezTo>
                  <a:cubicBezTo>
                    <a:pt x="1" y="7"/>
                    <a:pt x="10" y="0"/>
                    <a:pt x="14" y="1"/>
                  </a:cubicBezTo>
                  <a:cubicBezTo>
                    <a:pt x="61" y="10"/>
                    <a:pt x="107" y="20"/>
                    <a:pt x="153" y="31"/>
                  </a:cubicBezTo>
                  <a:cubicBezTo>
                    <a:pt x="158" y="32"/>
                    <a:pt x="161" y="39"/>
                    <a:pt x="16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0" name="Freeform 115">
              <a:extLst>
                <a:ext uri="{FF2B5EF4-FFF2-40B4-BE49-F238E27FC236}">
                  <a16:creationId xmlns:a16="http://schemas.microsoft.com/office/drawing/2014/main" xmlns="" id="{128DDF03-060F-4DF4-AFA9-8067F61E9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835025"/>
              <a:ext cx="71438" cy="46038"/>
            </a:xfrm>
            <a:custGeom>
              <a:avLst/>
              <a:gdLst>
                <a:gd name="T0" fmla="*/ 8 w 175"/>
                <a:gd name="T1" fmla="*/ 0 h 57"/>
                <a:gd name="T2" fmla="*/ 175 w 175"/>
                <a:gd name="T3" fmla="*/ 41 h 57"/>
                <a:gd name="T4" fmla="*/ 151 w 175"/>
                <a:gd name="T5" fmla="*/ 56 h 57"/>
                <a:gd name="T6" fmla="*/ 14 w 175"/>
                <a:gd name="T7" fmla="*/ 27 h 57"/>
                <a:gd name="T8" fmla="*/ 0 w 175"/>
                <a:gd name="T9" fmla="*/ 10 h 57"/>
                <a:gd name="T10" fmla="*/ 8 w 175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57">
                  <a:moveTo>
                    <a:pt x="8" y="0"/>
                  </a:moveTo>
                  <a:cubicBezTo>
                    <a:pt x="61" y="10"/>
                    <a:pt x="115" y="19"/>
                    <a:pt x="175" y="41"/>
                  </a:cubicBezTo>
                  <a:cubicBezTo>
                    <a:pt x="162" y="50"/>
                    <a:pt x="155" y="57"/>
                    <a:pt x="151" y="56"/>
                  </a:cubicBezTo>
                  <a:cubicBezTo>
                    <a:pt x="105" y="47"/>
                    <a:pt x="60" y="38"/>
                    <a:pt x="14" y="27"/>
                  </a:cubicBezTo>
                  <a:cubicBezTo>
                    <a:pt x="8" y="25"/>
                    <a:pt x="5" y="16"/>
                    <a:pt x="0" y="10"/>
                  </a:cubicBezTo>
                  <a:cubicBezTo>
                    <a:pt x="3" y="7"/>
                    <a:pt x="5" y="3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1" name="Freeform 116">
              <a:extLst>
                <a:ext uri="{FF2B5EF4-FFF2-40B4-BE49-F238E27FC236}">
                  <a16:creationId xmlns:a16="http://schemas.microsoft.com/office/drawing/2014/main" xmlns="" id="{90F20F5F-5F30-40DF-8B12-510DA71CE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6300" y="760413"/>
              <a:ext cx="65088" cy="60325"/>
            </a:xfrm>
            <a:custGeom>
              <a:avLst/>
              <a:gdLst>
                <a:gd name="T0" fmla="*/ 160 w 160"/>
                <a:gd name="T1" fmla="*/ 56 h 74"/>
                <a:gd name="T2" fmla="*/ 135 w 160"/>
                <a:gd name="T3" fmla="*/ 70 h 74"/>
                <a:gd name="T4" fmla="*/ 15 w 160"/>
                <a:gd name="T5" fmla="*/ 28 h 74"/>
                <a:gd name="T6" fmla="*/ 8 w 160"/>
                <a:gd name="T7" fmla="*/ 25 h 74"/>
                <a:gd name="T8" fmla="*/ 0 w 160"/>
                <a:gd name="T9" fmla="*/ 9 h 74"/>
                <a:gd name="T10" fmla="*/ 19 w 160"/>
                <a:gd name="T11" fmla="*/ 2 h 74"/>
                <a:gd name="T12" fmla="*/ 74 w 160"/>
                <a:gd name="T13" fmla="*/ 22 h 74"/>
                <a:gd name="T14" fmla="*/ 138 w 160"/>
                <a:gd name="T15" fmla="*/ 43 h 74"/>
                <a:gd name="T16" fmla="*/ 160 w 160"/>
                <a:gd name="T17" fmla="*/ 5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74">
                  <a:moveTo>
                    <a:pt x="160" y="56"/>
                  </a:moveTo>
                  <a:cubicBezTo>
                    <a:pt x="156" y="74"/>
                    <a:pt x="145" y="74"/>
                    <a:pt x="135" y="70"/>
                  </a:cubicBezTo>
                  <a:cubicBezTo>
                    <a:pt x="95" y="57"/>
                    <a:pt x="55" y="43"/>
                    <a:pt x="15" y="28"/>
                  </a:cubicBezTo>
                  <a:cubicBezTo>
                    <a:pt x="13" y="28"/>
                    <a:pt x="9" y="27"/>
                    <a:pt x="8" y="25"/>
                  </a:cubicBezTo>
                  <a:cubicBezTo>
                    <a:pt x="5" y="20"/>
                    <a:pt x="2" y="14"/>
                    <a:pt x="0" y="9"/>
                  </a:cubicBezTo>
                  <a:cubicBezTo>
                    <a:pt x="6" y="6"/>
                    <a:pt x="13" y="0"/>
                    <a:pt x="19" y="2"/>
                  </a:cubicBezTo>
                  <a:cubicBezTo>
                    <a:pt x="38" y="7"/>
                    <a:pt x="56" y="16"/>
                    <a:pt x="74" y="22"/>
                  </a:cubicBezTo>
                  <a:cubicBezTo>
                    <a:pt x="96" y="30"/>
                    <a:pt x="117" y="36"/>
                    <a:pt x="138" y="43"/>
                  </a:cubicBezTo>
                  <a:cubicBezTo>
                    <a:pt x="146" y="46"/>
                    <a:pt x="153" y="52"/>
                    <a:pt x="16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2" name="Freeform 117">
              <a:extLst>
                <a:ext uri="{FF2B5EF4-FFF2-40B4-BE49-F238E27FC236}">
                  <a16:creationId xmlns:a16="http://schemas.microsoft.com/office/drawing/2014/main" xmlns="" id="{3698BF77-C4B8-4CA1-BBD2-7066B52F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6100" y="1408113"/>
              <a:ext cx="42863" cy="109538"/>
            </a:xfrm>
            <a:custGeom>
              <a:avLst/>
              <a:gdLst>
                <a:gd name="T0" fmla="*/ 0 w 103"/>
                <a:gd name="T1" fmla="*/ 133 h 133"/>
                <a:gd name="T2" fmla="*/ 13 w 103"/>
                <a:gd name="T3" fmla="*/ 109 h 133"/>
                <a:gd name="T4" fmla="*/ 78 w 103"/>
                <a:gd name="T5" fmla="*/ 11 h 133"/>
                <a:gd name="T6" fmla="*/ 95 w 103"/>
                <a:gd name="T7" fmla="*/ 0 h 133"/>
                <a:gd name="T8" fmla="*/ 103 w 103"/>
                <a:gd name="T9" fmla="*/ 20 h 133"/>
                <a:gd name="T10" fmla="*/ 0 w 103"/>
                <a:gd name="T1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33">
                  <a:moveTo>
                    <a:pt x="0" y="133"/>
                  </a:moveTo>
                  <a:cubicBezTo>
                    <a:pt x="5" y="125"/>
                    <a:pt x="7" y="115"/>
                    <a:pt x="13" y="109"/>
                  </a:cubicBezTo>
                  <a:cubicBezTo>
                    <a:pt x="42" y="81"/>
                    <a:pt x="68" y="52"/>
                    <a:pt x="78" y="11"/>
                  </a:cubicBezTo>
                  <a:cubicBezTo>
                    <a:pt x="79" y="6"/>
                    <a:pt x="89" y="3"/>
                    <a:pt x="95" y="0"/>
                  </a:cubicBezTo>
                  <a:cubicBezTo>
                    <a:pt x="98" y="6"/>
                    <a:pt x="103" y="13"/>
                    <a:pt x="103" y="20"/>
                  </a:cubicBezTo>
                  <a:cubicBezTo>
                    <a:pt x="100" y="60"/>
                    <a:pt x="49" y="123"/>
                    <a:pt x="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3" name="Freeform 118">
              <a:extLst>
                <a:ext uri="{FF2B5EF4-FFF2-40B4-BE49-F238E27FC236}">
                  <a16:creationId xmlns:a16="http://schemas.microsoft.com/office/drawing/2014/main" xmlns="" id="{0B218B50-31E9-40C4-B27D-48B7BC23C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475" y="1058863"/>
              <a:ext cx="68263" cy="50800"/>
            </a:xfrm>
            <a:custGeom>
              <a:avLst/>
              <a:gdLst>
                <a:gd name="T0" fmla="*/ 0 w 168"/>
                <a:gd name="T1" fmla="*/ 8 h 61"/>
                <a:gd name="T2" fmla="*/ 30 w 168"/>
                <a:gd name="T3" fmla="*/ 2 h 61"/>
                <a:gd name="T4" fmla="*/ 152 w 168"/>
                <a:gd name="T5" fmla="*/ 34 h 61"/>
                <a:gd name="T6" fmla="*/ 168 w 168"/>
                <a:gd name="T7" fmla="*/ 53 h 61"/>
                <a:gd name="T8" fmla="*/ 148 w 168"/>
                <a:gd name="T9" fmla="*/ 60 h 61"/>
                <a:gd name="T10" fmla="*/ 14 w 168"/>
                <a:gd name="T11" fmla="*/ 24 h 61"/>
                <a:gd name="T12" fmla="*/ 0 w 168"/>
                <a:gd name="T13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61">
                  <a:moveTo>
                    <a:pt x="0" y="8"/>
                  </a:moveTo>
                  <a:cubicBezTo>
                    <a:pt x="14" y="5"/>
                    <a:pt x="23" y="0"/>
                    <a:pt x="30" y="2"/>
                  </a:cubicBezTo>
                  <a:cubicBezTo>
                    <a:pt x="71" y="12"/>
                    <a:pt x="112" y="22"/>
                    <a:pt x="152" y="34"/>
                  </a:cubicBezTo>
                  <a:cubicBezTo>
                    <a:pt x="159" y="36"/>
                    <a:pt x="163" y="46"/>
                    <a:pt x="168" y="53"/>
                  </a:cubicBezTo>
                  <a:cubicBezTo>
                    <a:pt x="161" y="55"/>
                    <a:pt x="154" y="61"/>
                    <a:pt x="148" y="60"/>
                  </a:cubicBezTo>
                  <a:cubicBezTo>
                    <a:pt x="103" y="49"/>
                    <a:pt x="59" y="36"/>
                    <a:pt x="14" y="24"/>
                  </a:cubicBezTo>
                  <a:cubicBezTo>
                    <a:pt x="11" y="23"/>
                    <a:pt x="9" y="18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4" name="Freeform 119">
              <a:extLst>
                <a:ext uri="{FF2B5EF4-FFF2-40B4-BE49-F238E27FC236}">
                  <a16:creationId xmlns:a16="http://schemas.microsoft.com/office/drawing/2014/main" xmlns="" id="{00BE6978-6634-4546-8E13-5CB53A7A5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3063" y="1130300"/>
              <a:ext cx="66675" cy="58738"/>
            </a:xfrm>
            <a:custGeom>
              <a:avLst/>
              <a:gdLst>
                <a:gd name="T0" fmla="*/ 5 w 161"/>
                <a:gd name="T1" fmla="*/ 0 h 72"/>
                <a:gd name="T2" fmla="*/ 161 w 161"/>
                <a:gd name="T3" fmla="*/ 51 h 72"/>
                <a:gd name="T4" fmla="*/ 139 w 161"/>
                <a:gd name="T5" fmla="*/ 69 h 72"/>
                <a:gd name="T6" fmla="*/ 15 w 161"/>
                <a:gd name="T7" fmla="*/ 26 h 72"/>
                <a:gd name="T8" fmla="*/ 0 w 161"/>
                <a:gd name="T9" fmla="*/ 9 h 72"/>
                <a:gd name="T10" fmla="*/ 5 w 161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72">
                  <a:moveTo>
                    <a:pt x="5" y="0"/>
                  </a:moveTo>
                  <a:cubicBezTo>
                    <a:pt x="60" y="9"/>
                    <a:pt x="111" y="29"/>
                    <a:pt x="161" y="51"/>
                  </a:cubicBezTo>
                  <a:cubicBezTo>
                    <a:pt x="161" y="71"/>
                    <a:pt x="150" y="72"/>
                    <a:pt x="139" y="69"/>
                  </a:cubicBezTo>
                  <a:cubicBezTo>
                    <a:pt x="98" y="55"/>
                    <a:pt x="56" y="41"/>
                    <a:pt x="15" y="26"/>
                  </a:cubicBezTo>
                  <a:cubicBezTo>
                    <a:pt x="9" y="24"/>
                    <a:pt x="5" y="15"/>
                    <a:pt x="0" y="9"/>
                  </a:cubicBezTo>
                  <a:cubicBezTo>
                    <a:pt x="2" y="6"/>
                    <a:pt x="3" y="3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5" name="Freeform 120">
              <a:extLst>
                <a:ext uri="{FF2B5EF4-FFF2-40B4-BE49-F238E27FC236}">
                  <a16:creationId xmlns:a16="http://schemas.microsoft.com/office/drawing/2014/main" xmlns="" id="{71271E2D-BF88-4402-8DC8-8DA21DB7A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2125" y="1225550"/>
              <a:ext cx="63500" cy="79375"/>
            </a:xfrm>
            <a:custGeom>
              <a:avLst/>
              <a:gdLst>
                <a:gd name="T0" fmla="*/ 0 w 153"/>
                <a:gd name="T1" fmla="*/ 12 h 97"/>
                <a:gd name="T2" fmla="*/ 28 w 153"/>
                <a:gd name="T3" fmla="*/ 2 h 97"/>
                <a:gd name="T4" fmla="*/ 149 w 153"/>
                <a:gd name="T5" fmla="*/ 75 h 97"/>
                <a:gd name="T6" fmla="*/ 153 w 153"/>
                <a:gd name="T7" fmla="*/ 95 h 97"/>
                <a:gd name="T8" fmla="*/ 135 w 153"/>
                <a:gd name="T9" fmla="*/ 96 h 97"/>
                <a:gd name="T10" fmla="*/ 125 w 153"/>
                <a:gd name="T11" fmla="*/ 90 h 97"/>
                <a:gd name="T12" fmla="*/ 0 w 153"/>
                <a:gd name="T13" fmla="*/ 1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97">
                  <a:moveTo>
                    <a:pt x="0" y="12"/>
                  </a:moveTo>
                  <a:cubicBezTo>
                    <a:pt x="15" y="6"/>
                    <a:pt x="24" y="0"/>
                    <a:pt x="28" y="2"/>
                  </a:cubicBezTo>
                  <a:cubicBezTo>
                    <a:pt x="69" y="25"/>
                    <a:pt x="109" y="50"/>
                    <a:pt x="149" y="75"/>
                  </a:cubicBezTo>
                  <a:cubicBezTo>
                    <a:pt x="153" y="78"/>
                    <a:pt x="152" y="88"/>
                    <a:pt x="153" y="95"/>
                  </a:cubicBezTo>
                  <a:cubicBezTo>
                    <a:pt x="147" y="96"/>
                    <a:pt x="141" y="97"/>
                    <a:pt x="135" y="96"/>
                  </a:cubicBezTo>
                  <a:cubicBezTo>
                    <a:pt x="132" y="96"/>
                    <a:pt x="129" y="92"/>
                    <a:pt x="125" y="90"/>
                  </a:cubicBezTo>
                  <a:cubicBezTo>
                    <a:pt x="87" y="66"/>
                    <a:pt x="48" y="41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6" name="Freeform 121">
              <a:extLst>
                <a:ext uri="{FF2B5EF4-FFF2-40B4-BE49-F238E27FC236}">
                  <a16:creationId xmlns:a16="http://schemas.microsoft.com/office/drawing/2014/main" xmlns="" id="{A6BE3D59-AC66-43BA-A734-4C8D55739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3013" y="354013"/>
              <a:ext cx="38100" cy="28575"/>
            </a:xfrm>
            <a:custGeom>
              <a:avLst/>
              <a:gdLst>
                <a:gd name="T0" fmla="*/ 0 w 94"/>
                <a:gd name="T1" fmla="*/ 17 h 35"/>
                <a:gd name="T2" fmla="*/ 87 w 94"/>
                <a:gd name="T3" fmla="*/ 4 h 35"/>
                <a:gd name="T4" fmla="*/ 94 w 94"/>
                <a:gd name="T5" fmla="*/ 18 h 35"/>
                <a:gd name="T6" fmla="*/ 16 w 94"/>
                <a:gd name="T7" fmla="*/ 34 h 35"/>
                <a:gd name="T8" fmla="*/ 0 w 94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35">
                  <a:moveTo>
                    <a:pt x="0" y="17"/>
                  </a:moveTo>
                  <a:cubicBezTo>
                    <a:pt x="33" y="4"/>
                    <a:pt x="60" y="0"/>
                    <a:pt x="87" y="4"/>
                  </a:cubicBezTo>
                  <a:cubicBezTo>
                    <a:pt x="90" y="5"/>
                    <a:pt x="91" y="13"/>
                    <a:pt x="94" y="18"/>
                  </a:cubicBezTo>
                  <a:cubicBezTo>
                    <a:pt x="69" y="35"/>
                    <a:pt x="42" y="33"/>
                    <a:pt x="16" y="34"/>
                  </a:cubicBezTo>
                  <a:cubicBezTo>
                    <a:pt x="13" y="35"/>
                    <a:pt x="8" y="27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7" name="Freeform 122">
              <a:extLst>
                <a:ext uri="{FF2B5EF4-FFF2-40B4-BE49-F238E27FC236}">
                  <a16:creationId xmlns:a16="http://schemas.microsoft.com/office/drawing/2014/main" xmlns="" id="{F016317D-CA6A-4780-A1BC-3A99A663B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5125" y="242888"/>
              <a:ext cx="38100" cy="31750"/>
            </a:xfrm>
            <a:custGeom>
              <a:avLst/>
              <a:gdLst>
                <a:gd name="T0" fmla="*/ 85 w 92"/>
                <a:gd name="T1" fmla="*/ 0 h 39"/>
                <a:gd name="T2" fmla="*/ 61 w 92"/>
                <a:gd name="T3" fmla="*/ 31 h 39"/>
                <a:gd name="T4" fmla="*/ 0 w 92"/>
                <a:gd name="T5" fmla="*/ 13 h 39"/>
                <a:gd name="T6" fmla="*/ 85 w 92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39">
                  <a:moveTo>
                    <a:pt x="85" y="0"/>
                  </a:moveTo>
                  <a:cubicBezTo>
                    <a:pt x="92" y="29"/>
                    <a:pt x="75" y="29"/>
                    <a:pt x="61" y="31"/>
                  </a:cubicBezTo>
                  <a:cubicBezTo>
                    <a:pt x="13" y="39"/>
                    <a:pt x="13" y="39"/>
                    <a:pt x="0" y="13"/>
                  </a:cubicBezTo>
                  <a:cubicBezTo>
                    <a:pt x="29" y="9"/>
                    <a:pt x="55" y="5"/>
                    <a:pt x="8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8" name="Freeform 123">
              <a:extLst>
                <a:ext uri="{FF2B5EF4-FFF2-40B4-BE49-F238E27FC236}">
                  <a16:creationId xmlns:a16="http://schemas.microsoft.com/office/drawing/2014/main" xmlns="" id="{4A7B8A27-88BB-41DF-88F4-3E7E349C5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9513" y="376238"/>
              <a:ext cx="36513" cy="26988"/>
            </a:xfrm>
            <a:custGeom>
              <a:avLst/>
              <a:gdLst>
                <a:gd name="T0" fmla="*/ 0 w 90"/>
                <a:gd name="T1" fmla="*/ 13 h 34"/>
                <a:gd name="T2" fmla="*/ 77 w 90"/>
                <a:gd name="T3" fmla="*/ 1 h 34"/>
                <a:gd name="T4" fmla="*/ 89 w 90"/>
                <a:gd name="T5" fmla="*/ 9 h 34"/>
                <a:gd name="T6" fmla="*/ 84 w 90"/>
                <a:gd name="T7" fmla="*/ 22 h 34"/>
                <a:gd name="T8" fmla="*/ 11 w 90"/>
                <a:gd name="T9" fmla="*/ 34 h 34"/>
                <a:gd name="T10" fmla="*/ 0 w 90"/>
                <a:gd name="T11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34">
                  <a:moveTo>
                    <a:pt x="0" y="13"/>
                  </a:moveTo>
                  <a:cubicBezTo>
                    <a:pt x="29" y="8"/>
                    <a:pt x="53" y="4"/>
                    <a:pt x="77" y="1"/>
                  </a:cubicBezTo>
                  <a:cubicBezTo>
                    <a:pt x="81" y="0"/>
                    <a:pt x="87" y="5"/>
                    <a:pt x="89" y="9"/>
                  </a:cubicBezTo>
                  <a:cubicBezTo>
                    <a:pt x="90" y="12"/>
                    <a:pt x="87" y="21"/>
                    <a:pt x="84" y="22"/>
                  </a:cubicBezTo>
                  <a:cubicBezTo>
                    <a:pt x="60" y="26"/>
                    <a:pt x="36" y="31"/>
                    <a:pt x="11" y="34"/>
                  </a:cubicBezTo>
                  <a:cubicBezTo>
                    <a:pt x="9" y="34"/>
                    <a:pt x="6" y="24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39" name="Freeform 124">
              <a:extLst>
                <a:ext uri="{FF2B5EF4-FFF2-40B4-BE49-F238E27FC236}">
                  <a16:creationId xmlns:a16="http://schemas.microsoft.com/office/drawing/2014/main" xmlns="" id="{FAEAAECE-E43B-4DEB-A714-FD15024B5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6013" y="393700"/>
              <a:ext cx="38100" cy="34925"/>
            </a:xfrm>
            <a:custGeom>
              <a:avLst/>
              <a:gdLst>
                <a:gd name="T0" fmla="*/ 96 w 96"/>
                <a:gd name="T1" fmla="*/ 20 h 44"/>
                <a:gd name="T2" fmla="*/ 0 w 96"/>
                <a:gd name="T3" fmla="*/ 38 h 44"/>
                <a:gd name="T4" fmla="*/ 96 w 96"/>
                <a:gd name="T5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6" h="44">
                  <a:moveTo>
                    <a:pt x="96" y="20"/>
                  </a:moveTo>
                  <a:cubicBezTo>
                    <a:pt x="61" y="38"/>
                    <a:pt x="33" y="44"/>
                    <a:pt x="0" y="38"/>
                  </a:cubicBezTo>
                  <a:cubicBezTo>
                    <a:pt x="15" y="9"/>
                    <a:pt x="58" y="0"/>
                    <a:pt x="9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0" name="Freeform 125">
              <a:extLst>
                <a:ext uri="{FF2B5EF4-FFF2-40B4-BE49-F238E27FC236}">
                  <a16:creationId xmlns:a16="http://schemas.microsoft.com/office/drawing/2014/main" xmlns="" id="{52851D8B-5297-49B4-A9A2-B825AC80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0925" y="419100"/>
              <a:ext cx="34925" cy="33338"/>
            </a:xfrm>
            <a:custGeom>
              <a:avLst/>
              <a:gdLst>
                <a:gd name="T0" fmla="*/ 84 w 84"/>
                <a:gd name="T1" fmla="*/ 8 h 41"/>
                <a:gd name="T2" fmla="*/ 82 w 84"/>
                <a:gd name="T3" fmla="*/ 23 h 41"/>
                <a:gd name="T4" fmla="*/ 10 w 84"/>
                <a:gd name="T5" fmla="*/ 41 h 41"/>
                <a:gd name="T6" fmla="*/ 0 w 84"/>
                <a:gd name="T7" fmla="*/ 31 h 41"/>
                <a:gd name="T8" fmla="*/ 6 w 84"/>
                <a:gd name="T9" fmla="*/ 18 h 41"/>
                <a:gd name="T10" fmla="*/ 84 w 84"/>
                <a:gd name="T11" fmla="*/ 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41">
                  <a:moveTo>
                    <a:pt x="84" y="8"/>
                  </a:moveTo>
                  <a:cubicBezTo>
                    <a:pt x="83" y="14"/>
                    <a:pt x="84" y="23"/>
                    <a:pt x="82" y="23"/>
                  </a:cubicBezTo>
                  <a:cubicBezTo>
                    <a:pt x="58" y="30"/>
                    <a:pt x="34" y="36"/>
                    <a:pt x="10" y="41"/>
                  </a:cubicBezTo>
                  <a:cubicBezTo>
                    <a:pt x="7" y="41"/>
                    <a:pt x="1" y="35"/>
                    <a:pt x="0" y="31"/>
                  </a:cubicBezTo>
                  <a:cubicBezTo>
                    <a:pt x="0" y="27"/>
                    <a:pt x="3" y="19"/>
                    <a:pt x="6" y="18"/>
                  </a:cubicBezTo>
                  <a:cubicBezTo>
                    <a:pt x="31" y="11"/>
                    <a:pt x="56" y="0"/>
                    <a:pt x="8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1" name="Freeform 126">
              <a:extLst>
                <a:ext uri="{FF2B5EF4-FFF2-40B4-BE49-F238E27FC236}">
                  <a16:creationId xmlns:a16="http://schemas.microsoft.com/office/drawing/2014/main" xmlns="" id="{50D7990F-8C08-47C0-B72B-0B2C552F1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7425" y="447675"/>
              <a:ext cx="36513" cy="41275"/>
            </a:xfrm>
            <a:custGeom>
              <a:avLst/>
              <a:gdLst>
                <a:gd name="T0" fmla="*/ 0 w 89"/>
                <a:gd name="T1" fmla="*/ 27 h 49"/>
                <a:gd name="T2" fmla="*/ 82 w 89"/>
                <a:gd name="T3" fmla="*/ 3 h 49"/>
                <a:gd name="T4" fmla="*/ 66 w 89"/>
                <a:gd name="T5" fmla="*/ 29 h 49"/>
                <a:gd name="T6" fmla="*/ 0 w 89"/>
                <a:gd name="T7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49">
                  <a:moveTo>
                    <a:pt x="0" y="27"/>
                  </a:moveTo>
                  <a:cubicBezTo>
                    <a:pt x="26" y="9"/>
                    <a:pt x="53" y="0"/>
                    <a:pt x="82" y="3"/>
                  </a:cubicBezTo>
                  <a:cubicBezTo>
                    <a:pt x="89" y="22"/>
                    <a:pt x="78" y="27"/>
                    <a:pt x="66" y="29"/>
                  </a:cubicBezTo>
                  <a:cubicBezTo>
                    <a:pt x="44" y="33"/>
                    <a:pt x="21" y="49"/>
                    <a:pt x="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2" name="Freeform 127">
              <a:extLst>
                <a:ext uri="{FF2B5EF4-FFF2-40B4-BE49-F238E27FC236}">
                  <a16:creationId xmlns:a16="http://schemas.microsoft.com/office/drawing/2014/main" xmlns="" id="{CE249E05-B187-42C5-AAB0-832328791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182563"/>
              <a:ext cx="34925" cy="31750"/>
            </a:xfrm>
            <a:custGeom>
              <a:avLst/>
              <a:gdLst>
                <a:gd name="T0" fmla="*/ 85 w 85"/>
                <a:gd name="T1" fmla="*/ 22 h 38"/>
                <a:gd name="T2" fmla="*/ 4 w 85"/>
                <a:gd name="T3" fmla="*/ 37 h 38"/>
                <a:gd name="T4" fmla="*/ 0 w 85"/>
                <a:gd name="T5" fmla="*/ 19 h 38"/>
                <a:gd name="T6" fmla="*/ 53 w 85"/>
                <a:gd name="T7" fmla="*/ 6 h 38"/>
                <a:gd name="T8" fmla="*/ 85 w 85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8">
                  <a:moveTo>
                    <a:pt x="85" y="22"/>
                  </a:moveTo>
                  <a:cubicBezTo>
                    <a:pt x="60" y="37"/>
                    <a:pt x="32" y="38"/>
                    <a:pt x="4" y="37"/>
                  </a:cubicBezTo>
                  <a:cubicBezTo>
                    <a:pt x="3" y="37"/>
                    <a:pt x="0" y="19"/>
                    <a:pt x="0" y="19"/>
                  </a:cubicBezTo>
                  <a:cubicBezTo>
                    <a:pt x="18" y="14"/>
                    <a:pt x="35" y="9"/>
                    <a:pt x="53" y="6"/>
                  </a:cubicBezTo>
                  <a:cubicBezTo>
                    <a:pt x="64" y="4"/>
                    <a:pt x="78" y="0"/>
                    <a:pt x="8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3" name="Freeform 128">
              <a:extLst>
                <a:ext uri="{FF2B5EF4-FFF2-40B4-BE49-F238E27FC236}">
                  <a16:creationId xmlns:a16="http://schemas.microsoft.com/office/drawing/2014/main" xmlns="" id="{DDF00BDF-30C9-433B-AD90-B5857F7E8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5475" y="165100"/>
              <a:ext cx="38100" cy="31750"/>
            </a:xfrm>
            <a:custGeom>
              <a:avLst/>
              <a:gdLst>
                <a:gd name="T0" fmla="*/ 90 w 90"/>
                <a:gd name="T1" fmla="*/ 12 h 38"/>
                <a:gd name="T2" fmla="*/ 0 w 90"/>
                <a:gd name="T3" fmla="*/ 19 h 38"/>
                <a:gd name="T4" fmla="*/ 78 w 90"/>
                <a:gd name="T5" fmla="*/ 0 h 38"/>
                <a:gd name="T6" fmla="*/ 90 w 90"/>
                <a:gd name="T7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38">
                  <a:moveTo>
                    <a:pt x="90" y="12"/>
                  </a:moveTo>
                  <a:cubicBezTo>
                    <a:pt x="53" y="36"/>
                    <a:pt x="21" y="38"/>
                    <a:pt x="0" y="19"/>
                  </a:cubicBezTo>
                  <a:cubicBezTo>
                    <a:pt x="24" y="0"/>
                    <a:pt x="51" y="2"/>
                    <a:pt x="78" y="0"/>
                  </a:cubicBezTo>
                  <a:cubicBezTo>
                    <a:pt x="81" y="0"/>
                    <a:pt x="86" y="8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4" name="Freeform 129">
              <a:extLst>
                <a:ext uri="{FF2B5EF4-FFF2-40B4-BE49-F238E27FC236}">
                  <a16:creationId xmlns:a16="http://schemas.microsoft.com/office/drawing/2014/main" xmlns="" id="{5522D37A-8116-49B4-A1B5-DA6C72D04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207963"/>
              <a:ext cx="36513" cy="25400"/>
            </a:xfrm>
            <a:custGeom>
              <a:avLst/>
              <a:gdLst>
                <a:gd name="T0" fmla="*/ 87 w 87"/>
                <a:gd name="T1" fmla="*/ 16 h 32"/>
                <a:gd name="T2" fmla="*/ 62 w 87"/>
                <a:gd name="T3" fmla="*/ 27 h 32"/>
                <a:gd name="T4" fmla="*/ 7 w 87"/>
                <a:gd name="T5" fmla="*/ 32 h 32"/>
                <a:gd name="T6" fmla="*/ 1 w 87"/>
                <a:gd name="T7" fmla="*/ 24 h 32"/>
                <a:gd name="T8" fmla="*/ 6 w 87"/>
                <a:gd name="T9" fmla="*/ 11 h 32"/>
                <a:gd name="T10" fmla="*/ 87 w 87"/>
                <a:gd name="T1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2">
                  <a:moveTo>
                    <a:pt x="87" y="16"/>
                  </a:moveTo>
                  <a:cubicBezTo>
                    <a:pt x="79" y="20"/>
                    <a:pt x="71" y="25"/>
                    <a:pt x="62" y="27"/>
                  </a:cubicBezTo>
                  <a:cubicBezTo>
                    <a:pt x="44" y="30"/>
                    <a:pt x="25" y="31"/>
                    <a:pt x="7" y="32"/>
                  </a:cubicBezTo>
                  <a:cubicBezTo>
                    <a:pt x="5" y="32"/>
                    <a:pt x="0" y="27"/>
                    <a:pt x="1" y="24"/>
                  </a:cubicBezTo>
                  <a:cubicBezTo>
                    <a:pt x="1" y="19"/>
                    <a:pt x="3" y="13"/>
                    <a:pt x="6" y="11"/>
                  </a:cubicBezTo>
                  <a:cubicBezTo>
                    <a:pt x="17" y="2"/>
                    <a:pt x="67" y="0"/>
                    <a:pt x="8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5" name="Freeform 130">
              <a:extLst>
                <a:ext uri="{FF2B5EF4-FFF2-40B4-BE49-F238E27FC236}">
                  <a16:creationId xmlns:a16="http://schemas.microsoft.com/office/drawing/2014/main" xmlns="" id="{C0A34A80-9120-49CD-B6D3-227FACB9F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0038" y="263525"/>
              <a:ext cx="38100" cy="26988"/>
            </a:xfrm>
            <a:custGeom>
              <a:avLst/>
              <a:gdLst>
                <a:gd name="T0" fmla="*/ 95 w 95"/>
                <a:gd name="T1" fmla="*/ 15 h 32"/>
                <a:gd name="T2" fmla="*/ 9 w 95"/>
                <a:gd name="T3" fmla="*/ 30 h 32"/>
                <a:gd name="T4" fmla="*/ 20 w 95"/>
                <a:gd name="T5" fmla="*/ 6 h 32"/>
                <a:gd name="T6" fmla="*/ 82 w 95"/>
                <a:gd name="T7" fmla="*/ 1 h 32"/>
                <a:gd name="T8" fmla="*/ 95 w 95"/>
                <a:gd name="T9" fmla="*/ 1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32">
                  <a:moveTo>
                    <a:pt x="95" y="15"/>
                  </a:moveTo>
                  <a:cubicBezTo>
                    <a:pt x="64" y="32"/>
                    <a:pt x="36" y="32"/>
                    <a:pt x="9" y="30"/>
                  </a:cubicBezTo>
                  <a:cubicBezTo>
                    <a:pt x="0" y="14"/>
                    <a:pt x="9" y="8"/>
                    <a:pt x="20" y="6"/>
                  </a:cubicBezTo>
                  <a:cubicBezTo>
                    <a:pt x="41" y="3"/>
                    <a:pt x="62" y="1"/>
                    <a:pt x="82" y="1"/>
                  </a:cubicBezTo>
                  <a:cubicBezTo>
                    <a:pt x="85" y="0"/>
                    <a:pt x="89" y="7"/>
                    <a:pt x="9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6" name="Freeform 131">
              <a:extLst>
                <a:ext uri="{FF2B5EF4-FFF2-40B4-BE49-F238E27FC236}">
                  <a16:creationId xmlns:a16="http://schemas.microsoft.com/office/drawing/2014/main" xmlns="" id="{E6C9CAF6-B720-41E0-8D22-09D44E7F5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4950" y="280988"/>
              <a:ext cx="36513" cy="31750"/>
            </a:xfrm>
            <a:custGeom>
              <a:avLst/>
              <a:gdLst>
                <a:gd name="T0" fmla="*/ 0 w 90"/>
                <a:gd name="T1" fmla="*/ 28 h 39"/>
                <a:gd name="T2" fmla="*/ 16 w 90"/>
                <a:gd name="T3" fmla="*/ 9 h 39"/>
                <a:gd name="T4" fmla="*/ 75 w 90"/>
                <a:gd name="T5" fmla="*/ 0 h 39"/>
                <a:gd name="T6" fmla="*/ 89 w 90"/>
                <a:gd name="T7" fmla="*/ 10 h 39"/>
                <a:gd name="T8" fmla="*/ 81 w 90"/>
                <a:gd name="T9" fmla="*/ 24 h 39"/>
                <a:gd name="T10" fmla="*/ 0 w 90"/>
                <a:gd name="T11" fmla="*/ 2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39">
                  <a:moveTo>
                    <a:pt x="0" y="28"/>
                  </a:moveTo>
                  <a:cubicBezTo>
                    <a:pt x="8" y="19"/>
                    <a:pt x="11" y="10"/>
                    <a:pt x="16" y="9"/>
                  </a:cubicBezTo>
                  <a:cubicBezTo>
                    <a:pt x="36" y="5"/>
                    <a:pt x="55" y="2"/>
                    <a:pt x="75" y="0"/>
                  </a:cubicBezTo>
                  <a:cubicBezTo>
                    <a:pt x="80" y="0"/>
                    <a:pt x="88" y="5"/>
                    <a:pt x="89" y="10"/>
                  </a:cubicBezTo>
                  <a:cubicBezTo>
                    <a:pt x="90" y="14"/>
                    <a:pt x="85" y="23"/>
                    <a:pt x="81" y="24"/>
                  </a:cubicBezTo>
                  <a:cubicBezTo>
                    <a:pt x="56" y="30"/>
                    <a:pt x="31" y="39"/>
                    <a:pt x="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7" name="Freeform 132">
              <a:extLst>
                <a:ext uri="{FF2B5EF4-FFF2-40B4-BE49-F238E27FC236}">
                  <a16:creationId xmlns:a16="http://schemas.microsoft.com/office/drawing/2014/main" xmlns="" id="{D21DB0E7-AB19-4EAA-B7EE-E39AA0DA3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292100"/>
              <a:ext cx="36513" cy="33338"/>
            </a:xfrm>
            <a:custGeom>
              <a:avLst/>
              <a:gdLst>
                <a:gd name="T0" fmla="*/ 90 w 90"/>
                <a:gd name="T1" fmla="*/ 26 h 41"/>
                <a:gd name="T2" fmla="*/ 9 w 90"/>
                <a:gd name="T3" fmla="*/ 41 h 41"/>
                <a:gd name="T4" fmla="*/ 1 w 90"/>
                <a:gd name="T5" fmla="*/ 29 h 41"/>
                <a:gd name="T6" fmla="*/ 6 w 90"/>
                <a:gd name="T7" fmla="*/ 20 h 41"/>
                <a:gd name="T8" fmla="*/ 85 w 90"/>
                <a:gd name="T9" fmla="*/ 14 h 41"/>
                <a:gd name="T10" fmla="*/ 90 w 90"/>
                <a:gd name="T11" fmla="*/ 2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41">
                  <a:moveTo>
                    <a:pt x="90" y="26"/>
                  </a:moveTo>
                  <a:cubicBezTo>
                    <a:pt x="65" y="40"/>
                    <a:pt x="37" y="41"/>
                    <a:pt x="9" y="41"/>
                  </a:cubicBezTo>
                  <a:cubicBezTo>
                    <a:pt x="6" y="41"/>
                    <a:pt x="2" y="34"/>
                    <a:pt x="1" y="29"/>
                  </a:cubicBezTo>
                  <a:cubicBezTo>
                    <a:pt x="0" y="27"/>
                    <a:pt x="3" y="20"/>
                    <a:pt x="6" y="20"/>
                  </a:cubicBezTo>
                  <a:cubicBezTo>
                    <a:pt x="32" y="15"/>
                    <a:pt x="57" y="0"/>
                    <a:pt x="85" y="14"/>
                  </a:cubicBezTo>
                  <a:cubicBezTo>
                    <a:pt x="87" y="15"/>
                    <a:pt x="87" y="19"/>
                    <a:pt x="9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8" name="Freeform 133">
              <a:extLst>
                <a:ext uri="{FF2B5EF4-FFF2-40B4-BE49-F238E27FC236}">
                  <a16:creationId xmlns:a16="http://schemas.microsoft.com/office/drawing/2014/main" xmlns="" id="{7D72A775-BFCA-4238-B2BD-3E91D1A46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688" y="334963"/>
              <a:ext cx="36513" cy="31750"/>
            </a:xfrm>
            <a:custGeom>
              <a:avLst/>
              <a:gdLst>
                <a:gd name="T0" fmla="*/ 0 w 87"/>
                <a:gd name="T1" fmla="*/ 17 h 37"/>
                <a:gd name="T2" fmla="*/ 76 w 87"/>
                <a:gd name="T3" fmla="*/ 2 h 37"/>
                <a:gd name="T4" fmla="*/ 86 w 87"/>
                <a:gd name="T5" fmla="*/ 11 h 37"/>
                <a:gd name="T6" fmla="*/ 83 w 87"/>
                <a:gd name="T7" fmla="*/ 21 h 37"/>
                <a:gd name="T8" fmla="*/ 4 w 87"/>
                <a:gd name="T9" fmla="*/ 29 h 37"/>
                <a:gd name="T10" fmla="*/ 0 w 87"/>
                <a:gd name="T11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37">
                  <a:moveTo>
                    <a:pt x="0" y="17"/>
                  </a:moveTo>
                  <a:cubicBezTo>
                    <a:pt x="24" y="0"/>
                    <a:pt x="50" y="3"/>
                    <a:pt x="76" y="2"/>
                  </a:cubicBezTo>
                  <a:cubicBezTo>
                    <a:pt x="79" y="2"/>
                    <a:pt x="84" y="7"/>
                    <a:pt x="86" y="11"/>
                  </a:cubicBezTo>
                  <a:cubicBezTo>
                    <a:pt x="87" y="13"/>
                    <a:pt x="85" y="19"/>
                    <a:pt x="83" y="21"/>
                  </a:cubicBezTo>
                  <a:cubicBezTo>
                    <a:pt x="72" y="31"/>
                    <a:pt x="18" y="37"/>
                    <a:pt x="4" y="29"/>
                  </a:cubicBezTo>
                  <a:cubicBezTo>
                    <a:pt x="2" y="27"/>
                    <a:pt x="2" y="22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49" name="Freeform 134">
              <a:extLst>
                <a:ext uri="{FF2B5EF4-FFF2-40B4-BE49-F238E27FC236}">
                  <a16:creationId xmlns:a16="http://schemas.microsoft.com/office/drawing/2014/main" xmlns="" id="{A338310B-B811-4348-A3A3-6FB4A2C6F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79375"/>
              <a:ext cx="34925" cy="36513"/>
            </a:xfrm>
            <a:custGeom>
              <a:avLst/>
              <a:gdLst>
                <a:gd name="T0" fmla="*/ 85 w 85"/>
                <a:gd name="T1" fmla="*/ 11 h 44"/>
                <a:gd name="T2" fmla="*/ 73 w 85"/>
                <a:gd name="T3" fmla="*/ 28 h 44"/>
                <a:gd name="T4" fmla="*/ 16 w 85"/>
                <a:gd name="T5" fmla="*/ 43 h 44"/>
                <a:gd name="T6" fmla="*/ 1 w 85"/>
                <a:gd name="T7" fmla="*/ 35 h 44"/>
                <a:gd name="T8" fmla="*/ 8 w 85"/>
                <a:gd name="T9" fmla="*/ 20 h 44"/>
                <a:gd name="T10" fmla="*/ 78 w 85"/>
                <a:gd name="T11" fmla="*/ 0 h 44"/>
                <a:gd name="T12" fmla="*/ 85 w 85"/>
                <a:gd name="T13" fmla="*/ 1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44">
                  <a:moveTo>
                    <a:pt x="85" y="11"/>
                  </a:moveTo>
                  <a:cubicBezTo>
                    <a:pt x="81" y="17"/>
                    <a:pt x="79" y="26"/>
                    <a:pt x="73" y="28"/>
                  </a:cubicBezTo>
                  <a:cubicBezTo>
                    <a:pt x="55" y="34"/>
                    <a:pt x="35" y="39"/>
                    <a:pt x="16" y="43"/>
                  </a:cubicBezTo>
                  <a:cubicBezTo>
                    <a:pt x="11" y="44"/>
                    <a:pt x="3" y="39"/>
                    <a:pt x="1" y="35"/>
                  </a:cubicBezTo>
                  <a:cubicBezTo>
                    <a:pt x="0" y="31"/>
                    <a:pt x="4" y="21"/>
                    <a:pt x="8" y="20"/>
                  </a:cubicBezTo>
                  <a:cubicBezTo>
                    <a:pt x="31" y="12"/>
                    <a:pt x="55" y="7"/>
                    <a:pt x="78" y="0"/>
                  </a:cubicBezTo>
                  <a:cubicBezTo>
                    <a:pt x="81" y="4"/>
                    <a:pt x="83" y="7"/>
                    <a:pt x="8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0" name="Freeform 135">
              <a:extLst>
                <a:ext uri="{FF2B5EF4-FFF2-40B4-BE49-F238E27FC236}">
                  <a16:creationId xmlns:a16="http://schemas.microsoft.com/office/drawing/2014/main" xmlns="" id="{3B099DDE-66F0-4F52-891B-815ECFF19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0" y="111125"/>
              <a:ext cx="36513" cy="38100"/>
            </a:xfrm>
            <a:custGeom>
              <a:avLst/>
              <a:gdLst>
                <a:gd name="T0" fmla="*/ 86 w 86"/>
                <a:gd name="T1" fmla="*/ 14 h 47"/>
                <a:gd name="T2" fmla="*/ 0 w 86"/>
                <a:gd name="T3" fmla="*/ 29 h 47"/>
                <a:gd name="T4" fmla="*/ 86 w 86"/>
                <a:gd name="T5" fmla="*/ 1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47">
                  <a:moveTo>
                    <a:pt x="86" y="14"/>
                  </a:moveTo>
                  <a:cubicBezTo>
                    <a:pt x="64" y="40"/>
                    <a:pt x="23" y="47"/>
                    <a:pt x="0" y="29"/>
                  </a:cubicBezTo>
                  <a:cubicBezTo>
                    <a:pt x="24" y="6"/>
                    <a:pt x="60" y="0"/>
                    <a:pt x="8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1" name="Freeform 136">
              <a:extLst>
                <a:ext uri="{FF2B5EF4-FFF2-40B4-BE49-F238E27FC236}">
                  <a16:creationId xmlns:a16="http://schemas.microsoft.com/office/drawing/2014/main" xmlns="" id="{1857310E-E6F4-43EA-8187-2D8B0F258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838" y="523875"/>
              <a:ext cx="36513" cy="41275"/>
            </a:xfrm>
            <a:custGeom>
              <a:avLst/>
              <a:gdLst>
                <a:gd name="T0" fmla="*/ 0 w 92"/>
                <a:gd name="T1" fmla="*/ 35 h 51"/>
                <a:gd name="T2" fmla="*/ 74 w 92"/>
                <a:gd name="T3" fmla="*/ 1 h 51"/>
                <a:gd name="T4" fmla="*/ 90 w 92"/>
                <a:gd name="T5" fmla="*/ 8 h 51"/>
                <a:gd name="T6" fmla="*/ 87 w 92"/>
                <a:gd name="T7" fmla="*/ 22 h 51"/>
                <a:gd name="T8" fmla="*/ 19 w 92"/>
                <a:gd name="T9" fmla="*/ 50 h 51"/>
                <a:gd name="T10" fmla="*/ 0 w 92"/>
                <a:gd name="T11" fmla="*/ 3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51">
                  <a:moveTo>
                    <a:pt x="0" y="35"/>
                  </a:moveTo>
                  <a:cubicBezTo>
                    <a:pt x="30" y="21"/>
                    <a:pt x="52" y="10"/>
                    <a:pt x="74" y="1"/>
                  </a:cubicBezTo>
                  <a:cubicBezTo>
                    <a:pt x="78" y="0"/>
                    <a:pt x="86" y="4"/>
                    <a:pt x="90" y="8"/>
                  </a:cubicBezTo>
                  <a:cubicBezTo>
                    <a:pt x="92" y="10"/>
                    <a:pt x="90" y="20"/>
                    <a:pt x="87" y="22"/>
                  </a:cubicBezTo>
                  <a:cubicBezTo>
                    <a:pt x="65" y="32"/>
                    <a:pt x="42" y="41"/>
                    <a:pt x="19" y="50"/>
                  </a:cubicBezTo>
                  <a:cubicBezTo>
                    <a:pt x="17" y="51"/>
                    <a:pt x="12" y="44"/>
                    <a:pt x="0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2" name="Freeform 137">
              <a:extLst>
                <a:ext uri="{FF2B5EF4-FFF2-40B4-BE49-F238E27FC236}">
                  <a16:creationId xmlns:a16="http://schemas.microsoft.com/office/drawing/2014/main" xmlns="" id="{A2DB54FB-B9A2-443B-AF5E-76077A32C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3188" y="317500"/>
              <a:ext cx="39688" cy="25400"/>
            </a:xfrm>
            <a:custGeom>
              <a:avLst/>
              <a:gdLst>
                <a:gd name="T0" fmla="*/ 0 w 98"/>
                <a:gd name="T1" fmla="*/ 12 h 32"/>
                <a:gd name="T2" fmla="*/ 85 w 98"/>
                <a:gd name="T3" fmla="*/ 0 h 32"/>
                <a:gd name="T4" fmla="*/ 80 w 98"/>
                <a:gd name="T5" fmla="*/ 26 h 32"/>
                <a:gd name="T6" fmla="*/ 14 w 98"/>
                <a:gd name="T7" fmla="*/ 32 h 32"/>
                <a:gd name="T8" fmla="*/ 0 w 98"/>
                <a:gd name="T9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32">
                  <a:moveTo>
                    <a:pt x="0" y="12"/>
                  </a:moveTo>
                  <a:cubicBezTo>
                    <a:pt x="34" y="7"/>
                    <a:pt x="61" y="3"/>
                    <a:pt x="85" y="0"/>
                  </a:cubicBezTo>
                  <a:cubicBezTo>
                    <a:pt x="98" y="16"/>
                    <a:pt x="92" y="24"/>
                    <a:pt x="80" y="26"/>
                  </a:cubicBezTo>
                  <a:cubicBezTo>
                    <a:pt x="58" y="30"/>
                    <a:pt x="36" y="31"/>
                    <a:pt x="14" y="32"/>
                  </a:cubicBezTo>
                  <a:cubicBezTo>
                    <a:pt x="11" y="32"/>
                    <a:pt x="9" y="25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3" name="Freeform 138">
              <a:extLst>
                <a:ext uri="{FF2B5EF4-FFF2-40B4-BE49-F238E27FC236}">
                  <a16:creationId xmlns:a16="http://schemas.microsoft.com/office/drawing/2014/main" xmlns="" id="{3CDA2BE7-DE1E-4BA8-87E2-C78809393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2150" y="139700"/>
              <a:ext cx="34925" cy="31750"/>
            </a:xfrm>
            <a:custGeom>
              <a:avLst/>
              <a:gdLst>
                <a:gd name="T0" fmla="*/ 87 w 87"/>
                <a:gd name="T1" fmla="*/ 9 h 38"/>
                <a:gd name="T2" fmla="*/ 75 w 87"/>
                <a:gd name="T3" fmla="*/ 26 h 38"/>
                <a:gd name="T4" fmla="*/ 17 w 87"/>
                <a:gd name="T5" fmla="*/ 37 h 38"/>
                <a:gd name="T6" fmla="*/ 0 w 87"/>
                <a:gd name="T7" fmla="*/ 26 h 38"/>
                <a:gd name="T8" fmla="*/ 12 w 87"/>
                <a:gd name="T9" fmla="*/ 12 h 38"/>
                <a:gd name="T10" fmla="*/ 80 w 87"/>
                <a:gd name="T11" fmla="*/ 0 h 38"/>
                <a:gd name="T12" fmla="*/ 87 w 87"/>
                <a:gd name="T13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38">
                  <a:moveTo>
                    <a:pt x="87" y="9"/>
                  </a:moveTo>
                  <a:cubicBezTo>
                    <a:pt x="83" y="15"/>
                    <a:pt x="80" y="25"/>
                    <a:pt x="75" y="26"/>
                  </a:cubicBezTo>
                  <a:cubicBezTo>
                    <a:pt x="56" y="31"/>
                    <a:pt x="37" y="35"/>
                    <a:pt x="17" y="37"/>
                  </a:cubicBezTo>
                  <a:cubicBezTo>
                    <a:pt x="12" y="38"/>
                    <a:pt x="6" y="30"/>
                    <a:pt x="0" y="26"/>
                  </a:cubicBezTo>
                  <a:cubicBezTo>
                    <a:pt x="4" y="21"/>
                    <a:pt x="7" y="13"/>
                    <a:pt x="12" y="12"/>
                  </a:cubicBezTo>
                  <a:cubicBezTo>
                    <a:pt x="34" y="7"/>
                    <a:pt x="57" y="4"/>
                    <a:pt x="80" y="0"/>
                  </a:cubicBezTo>
                  <a:cubicBezTo>
                    <a:pt x="82" y="3"/>
                    <a:pt x="84" y="6"/>
                    <a:pt x="87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4" name="Freeform 139">
              <a:extLst>
                <a:ext uri="{FF2B5EF4-FFF2-40B4-BE49-F238E27FC236}">
                  <a16:creationId xmlns:a16="http://schemas.microsoft.com/office/drawing/2014/main" xmlns="" id="{8889037F-8255-4461-9C53-C83FD3A93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1800" y="220663"/>
              <a:ext cx="36513" cy="33338"/>
            </a:xfrm>
            <a:custGeom>
              <a:avLst/>
              <a:gdLst>
                <a:gd name="T0" fmla="*/ 88 w 88"/>
                <a:gd name="T1" fmla="*/ 16 h 42"/>
                <a:gd name="T2" fmla="*/ 77 w 88"/>
                <a:gd name="T3" fmla="*/ 31 h 42"/>
                <a:gd name="T4" fmla="*/ 15 w 88"/>
                <a:gd name="T5" fmla="*/ 42 h 42"/>
                <a:gd name="T6" fmla="*/ 1 w 88"/>
                <a:gd name="T7" fmla="*/ 32 h 42"/>
                <a:gd name="T8" fmla="*/ 6 w 88"/>
                <a:gd name="T9" fmla="*/ 19 h 42"/>
                <a:gd name="T10" fmla="*/ 88 w 88"/>
                <a:gd name="T11" fmla="*/ 1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2">
                  <a:moveTo>
                    <a:pt x="88" y="16"/>
                  </a:moveTo>
                  <a:cubicBezTo>
                    <a:pt x="83" y="22"/>
                    <a:pt x="81" y="31"/>
                    <a:pt x="77" y="31"/>
                  </a:cubicBezTo>
                  <a:cubicBezTo>
                    <a:pt x="56" y="36"/>
                    <a:pt x="36" y="40"/>
                    <a:pt x="15" y="42"/>
                  </a:cubicBezTo>
                  <a:cubicBezTo>
                    <a:pt x="11" y="42"/>
                    <a:pt x="4" y="36"/>
                    <a:pt x="1" y="32"/>
                  </a:cubicBezTo>
                  <a:cubicBezTo>
                    <a:pt x="0" y="29"/>
                    <a:pt x="4" y="19"/>
                    <a:pt x="6" y="19"/>
                  </a:cubicBezTo>
                  <a:cubicBezTo>
                    <a:pt x="32" y="14"/>
                    <a:pt x="58" y="0"/>
                    <a:pt x="8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5" name="Freeform 140">
              <a:extLst>
                <a:ext uri="{FF2B5EF4-FFF2-40B4-BE49-F238E27FC236}">
                  <a16:creationId xmlns:a16="http://schemas.microsoft.com/office/drawing/2014/main" xmlns="" id="{72DF127F-68F6-4681-94BC-566794CA0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925" y="479425"/>
              <a:ext cx="33338" cy="36513"/>
            </a:xfrm>
            <a:custGeom>
              <a:avLst/>
              <a:gdLst>
                <a:gd name="T0" fmla="*/ 0 w 81"/>
                <a:gd name="T1" fmla="*/ 44 h 44"/>
                <a:gd name="T2" fmla="*/ 81 w 81"/>
                <a:gd name="T3" fmla="*/ 9 h 44"/>
                <a:gd name="T4" fmla="*/ 0 w 81"/>
                <a:gd name="T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1" h="44">
                  <a:moveTo>
                    <a:pt x="0" y="44"/>
                  </a:moveTo>
                  <a:cubicBezTo>
                    <a:pt x="5" y="15"/>
                    <a:pt x="43" y="0"/>
                    <a:pt x="81" y="9"/>
                  </a:cubicBezTo>
                  <a:cubicBezTo>
                    <a:pt x="72" y="31"/>
                    <a:pt x="52" y="40"/>
                    <a:pt x="0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6" name="Freeform 141">
              <a:extLst>
                <a:ext uri="{FF2B5EF4-FFF2-40B4-BE49-F238E27FC236}">
                  <a16:creationId xmlns:a16="http://schemas.microsoft.com/office/drawing/2014/main" xmlns="" id="{CE9ECDD2-4DEB-4A65-BC20-2B6D430FE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150" y="588963"/>
              <a:ext cx="20638" cy="68263"/>
            </a:xfrm>
            <a:custGeom>
              <a:avLst/>
              <a:gdLst>
                <a:gd name="T0" fmla="*/ 40 w 53"/>
                <a:gd name="T1" fmla="*/ 0 h 84"/>
                <a:gd name="T2" fmla="*/ 47 w 53"/>
                <a:gd name="T3" fmla="*/ 4 h 84"/>
                <a:gd name="T4" fmla="*/ 51 w 53"/>
                <a:gd name="T5" fmla="*/ 20 h 84"/>
                <a:gd name="T6" fmla="*/ 16 w 53"/>
                <a:gd name="T7" fmla="*/ 76 h 84"/>
                <a:gd name="T8" fmla="*/ 2 w 53"/>
                <a:gd name="T9" fmla="*/ 60 h 84"/>
                <a:gd name="T10" fmla="*/ 40 w 53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84">
                  <a:moveTo>
                    <a:pt x="40" y="0"/>
                  </a:moveTo>
                  <a:cubicBezTo>
                    <a:pt x="45" y="2"/>
                    <a:pt x="47" y="3"/>
                    <a:pt x="47" y="4"/>
                  </a:cubicBezTo>
                  <a:cubicBezTo>
                    <a:pt x="49" y="9"/>
                    <a:pt x="53" y="17"/>
                    <a:pt x="51" y="20"/>
                  </a:cubicBezTo>
                  <a:cubicBezTo>
                    <a:pt x="41" y="40"/>
                    <a:pt x="31" y="61"/>
                    <a:pt x="16" y="76"/>
                  </a:cubicBezTo>
                  <a:cubicBezTo>
                    <a:pt x="8" y="84"/>
                    <a:pt x="0" y="70"/>
                    <a:pt x="2" y="60"/>
                  </a:cubicBezTo>
                  <a:cubicBezTo>
                    <a:pt x="6" y="36"/>
                    <a:pt x="18" y="15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7" name="Freeform 142">
              <a:extLst>
                <a:ext uri="{FF2B5EF4-FFF2-40B4-BE49-F238E27FC236}">
                  <a16:creationId xmlns:a16="http://schemas.microsoft.com/office/drawing/2014/main" xmlns="" id="{C66E6D6F-5DE3-46C9-AA47-F499DBE5E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2650" y="38100"/>
              <a:ext cx="34925" cy="39688"/>
            </a:xfrm>
            <a:custGeom>
              <a:avLst/>
              <a:gdLst>
                <a:gd name="T0" fmla="*/ 0 w 88"/>
                <a:gd name="T1" fmla="*/ 42 h 48"/>
                <a:gd name="T2" fmla="*/ 85 w 88"/>
                <a:gd name="T3" fmla="*/ 0 h 48"/>
                <a:gd name="T4" fmla="*/ 86 w 88"/>
                <a:gd name="T5" fmla="*/ 23 h 48"/>
                <a:gd name="T6" fmla="*/ 0 w 88"/>
                <a:gd name="T7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48">
                  <a:moveTo>
                    <a:pt x="0" y="42"/>
                  </a:moveTo>
                  <a:cubicBezTo>
                    <a:pt x="23" y="11"/>
                    <a:pt x="55" y="14"/>
                    <a:pt x="85" y="0"/>
                  </a:cubicBezTo>
                  <a:cubicBezTo>
                    <a:pt x="85" y="12"/>
                    <a:pt x="88" y="20"/>
                    <a:pt x="86" y="23"/>
                  </a:cubicBezTo>
                  <a:cubicBezTo>
                    <a:pt x="72" y="38"/>
                    <a:pt x="30" y="48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  <p:sp>
          <p:nvSpPr>
            <p:cNvPr id="158" name="Freeform 143">
              <a:extLst>
                <a:ext uri="{FF2B5EF4-FFF2-40B4-BE49-F238E27FC236}">
                  <a16:creationId xmlns:a16="http://schemas.microsoft.com/office/drawing/2014/main" xmlns="" id="{C772672F-AEEB-4FC2-B0E5-60FCA6651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5025" y="700088"/>
              <a:ext cx="15875" cy="30163"/>
            </a:xfrm>
            <a:custGeom>
              <a:avLst/>
              <a:gdLst>
                <a:gd name="T0" fmla="*/ 34 w 38"/>
                <a:gd name="T1" fmla="*/ 33 h 36"/>
                <a:gd name="T2" fmla="*/ 27 w 38"/>
                <a:gd name="T3" fmla="*/ 36 h 36"/>
                <a:gd name="T4" fmla="*/ 1 w 38"/>
                <a:gd name="T5" fmla="*/ 10 h 36"/>
                <a:gd name="T6" fmla="*/ 13 w 38"/>
                <a:gd name="T7" fmla="*/ 1 h 36"/>
                <a:gd name="T8" fmla="*/ 34 w 38"/>
                <a:gd name="T9" fmla="*/ 3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6">
                  <a:moveTo>
                    <a:pt x="34" y="33"/>
                  </a:moveTo>
                  <a:cubicBezTo>
                    <a:pt x="29" y="35"/>
                    <a:pt x="28" y="36"/>
                    <a:pt x="27" y="36"/>
                  </a:cubicBezTo>
                  <a:cubicBezTo>
                    <a:pt x="11" y="34"/>
                    <a:pt x="0" y="27"/>
                    <a:pt x="1" y="10"/>
                  </a:cubicBezTo>
                  <a:cubicBezTo>
                    <a:pt x="2" y="7"/>
                    <a:pt x="10" y="0"/>
                    <a:pt x="13" y="1"/>
                  </a:cubicBezTo>
                  <a:cubicBezTo>
                    <a:pt x="27" y="6"/>
                    <a:pt x="38" y="14"/>
                    <a:pt x="34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xmlns="" id="{7B2A6F9E-F0E9-4622-ACDE-CB82326B5637}"/>
              </a:ext>
            </a:extLst>
          </p:cNvPr>
          <p:cNvGrpSpPr/>
          <p:nvPr/>
        </p:nvGrpSpPr>
        <p:grpSpPr>
          <a:xfrm>
            <a:off x="7589098" y="2567215"/>
            <a:ext cx="1166981" cy="1804195"/>
            <a:chOff x="7478257" y="2193205"/>
            <a:chExt cx="452893" cy="700189"/>
          </a:xfrm>
        </p:grpSpPr>
        <p:sp>
          <p:nvSpPr>
            <p:cNvPr id="160" name="Oval 159">
              <a:extLst>
                <a:ext uri="{FF2B5EF4-FFF2-40B4-BE49-F238E27FC236}">
                  <a16:creationId xmlns:a16="http://schemas.microsoft.com/office/drawing/2014/main" xmlns="" id="{5A0418DE-2F1D-4FFD-B28F-98DC2FEF1A72}"/>
                </a:ext>
              </a:extLst>
            </p:cNvPr>
            <p:cNvSpPr/>
            <p:nvPr/>
          </p:nvSpPr>
          <p:spPr>
            <a:xfrm>
              <a:off x="7478257" y="2786413"/>
              <a:ext cx="452893" cy="106981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1" name="Freeform 17">
              <a:extLst>
                <a:ext uri="{FF2B5EF4-FFF2-40B4-BE49-F238E27FC236}">
                  <a16:creationId xmlns:a16="http://schemas.microsoft.com/office/drawing/2014/main" xmlns="" id="{E2FE26E6-6248-47C3-9AD0-8A58E5F104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8257" y="2193205"/>
              <a:ext cx="452893" cy="646699"/>
            </a:xfrm>
            <a:custGeom>
              <a:avLst/>
              <a:gdLst>
                <a:gd name="T0" fmla="*/ 214 w 221"/>
                <a:gd name="T1" fmla="*/ 77 h 315"/>
                <a:gd name="T2" fmla="*/ 164 w 221"/>
                <a:gd name="T3" fmla="*/ 14 h 315"/>
                <a:gd name="T4" fmla="*/ 110 w 221"/>
                <a:gd name="T5" fmla="*/ 0 h 315"/>
                <a:gd name="T6" fmla="*/ 110 w 221"/>
                <a:gd name="T7" fmla="*/ 0 h 315"/>
                <a:gd name="T8" fmla="*/ 56 w 221"/>
                <a:gd name="T9" fmla="*/ 14 h 315"/>
                <a:gd name="T10" fmla="*/ 6 w 221"/>
                <a:gd name="T11" fmla="*/ 77 h 315"/>
                <a:gd name="T12" fmla="*/ 5 w 221"/>
                <a:gd name="T13" fmla="*/ 132 h 315"/>
                <a:gd name="T14" fmla="*/ 40 w 221"/>
                <a:gd name="T15" fmla="*/ 208 h 315"/>
                <a:gd name="T16" fmla="*/ 94 w 221"/>
                <a:gd name="T17" fmla="*/ 292 h 315"/>
                <a:gd name="T18" fmla="*/ 110 w 221"/>
                <a:gd name="T19" fmla="*/ 315 h 315"/>
                <a:gd name="T20" fmla="*/ 110 w 221"/>
                <a:gd name="T21" fmla="*/ 315 h 315"/>
                <a:gd name="T22" fmla="*/ 126 w 221"/>
                <a:gd name="T23" fmla="*/ 292 h 315"/>
                <a:gd name="T24" fmla="*/ 180 w 221"/>
                <a:gd name="T25" fmla="*/ 208 h 315"/>
                <a:gd name="T26" fmla="*/ 215 w 221"/>
                <a:gd name="T27" fmla="*/ 132 h 315"/>
                <a:gd name="T28" fmla="*/ 214 w 221"/>
                <a:gd name="T29" fmla="*/ 77 h 315"/>
                <a:gd name="T30" fmla="*/ 110 w 221"/>
                <a:gd name="T31" fmla="*/ 174 h 315"/>
                <a:gd name="T32" fmla="*/ 110 w 221"/>
                <a:gd name="T33" fmla="*/ 174 h 315"/>
                <a:gd name="T34" fmla="*/ 110 w 221"/>
                <a:gd name="T35" fmla="*/ 174 h 315"/>
                <a:gd name="T36" fmla="*/ 44 w 221"/>
                <a:gd name="T37" fmla="*/ 108 h 315"/>
                <a:gd name="T38" fmla="*/ 110 w 221"/>
                <a:gd name="T39" fmla="*/ 42 h 315"/>
                <a:gd name="T40" fmla="*/ 110 w 221"/>
                <a:gd name="T41" fmla="*/ 42 h 315"/>
                <a:gd name="T42" fmla="*/ 110 w 221"/>
                <a:gd name="T43" fmla="*/ 42 h 315"/>
                <a:gd name="T44" fmla="*/ 176 w 221"/>
                <a:gd name="T45" fmla="*/ 108 h 315"/>
                <a:gd name="T46" fmla="*/ 110 w 221"/>
                <a:gd name="T47" fmla="*/ 17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15">
                  <a:moveTo>
                    <a:pt x="214" y="77"/>
                  </a:moveTo>
                  <a:cubicBezTo>
                    <a:pt x="206" y="50"/>
                    <a:pt x="189" y="29"/>
                    <a:pt x="164" y="14"/>
                  </a:cubicBezTo>
                  <a:cubicBezTo>
                    <a:pt x="147" y="4"/>
                    <a:pt x="129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91" y="0"/>
                    <a:pt x="73" y="4"/>
                    <a:pt x="56" y="14"/>
                  </a:cubicBezTo>
                  <a:cubicBezTo>
                    <a:pt x="31" y="29"/>
                    <a:pt x="15" y="50"/>
                    <a:pt x="6" y="77"/>
                  </a:cubicBezTo>
                  <a:cubicBezTo>
                    <a:pt x="1" y="95"/>
                    <a:pt x="0" y="114"/>
                    <a:pt x="5" y="132"/>
                  </a:cubicBezTo>
                  <a:cubicBezTo>
                    <a:pt x="13" y="159"/>
                    <a:pt x="26" y="184"/>
                    <a:pt x="40" y="208"/>
                  </a:cubicBezTo>
                  <a:cubicBezTo>
                    <a:pt x="58" y="237"/>
                    <a:pt x="76" y="264"/>
                    <a:pt x="94" y="292"/>
                  </a:cubicBezTo>
                  <a:cubicBezTo>
                    <a:pt x="99" y="300"/>
                    <a:pt x="104" y="307"/>
                    <a:pt x="110" y="315"/>
                  </a:cubicBezTo>
                  <a:cubicBezTo>
                    <a:pt x="110" y="315"/>
                    <a:pt x="110" y="315"/>
                    <a:pt x="110" y="315"/>
                  </a:cubicBezTo>
                  <a:cubicBezTo>
                    <a:pt x="116" y="307"/>
                    <a:pt x="121" y="300"/>
                    <a:pt x="126" y="292"/>
                  </a:cubicBezTo>
                  <a:cubicBezTo>
                    <a:pt x="144" y="264"/>
                    <a:pt x="163" y="237"/>
                    <a:pt x="180" y="208"/>
                  </a:cubicBezTo>
                  <a:cubicBezTo>
                    <a:pt x="194" y="184"/>
                    <a:pt x="207" y="159"/>
                    <a:pt x="215" y="132"/>
                  </a:cubicBezTo>
                  <a:cubicBezTo>
                    <a:pt x="221" y="114"/>
                    <a:pt x="220" y="95"/>
                    <a:pt x="214" y="77"/>
                  </a:cubicBezTo>
                  <a:close/>
                  <a:moveTo>
                    <a:pt x="110" y="174"/>
                  </a:moveTo>
                  <a:cubicBezTo>
                    <a:pt x="110" y="174"/>
                    <a:pt x="110" y="174"/>
                    <a:pt x="110" y="174"/>
                  </a:cubicBezTo>
                  <a:cubicBezTo>
                    <a:pt x="110" y="174"/>
                    <a:pt x="110" y="174"/>
                    <a:pt x="110" y="174"/>
                  </a:cubicBezTo>
                  <a:cubicBezTo>
                    <a:pt x="74" y="174"/>
                    <a:pt x="44" y="145"/>
                    <a:pt x="44" y="108"/>
                  </a:cubicBezTo>
                  <a:cubicBezTo>
                    <a:pt x="44" y="72"/>
                    <a:pt x="74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47" y="42"/>
                    <a:pt x="176" y="72"/>
                    <a:pt x="176" y="108"/>
                  </a:cubicBezTo>
                  <a:cubicBezTo>
                    <a:pt x="176" y="145"/>
                    <a:pt x="147" y="174"/>
                    <a:pt x="110" y="17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B854ABA0-5487-4821-B2F2-349225F2294D}"/>
              </a:ext>
            </a:extLst>
          </p:cNvPr>
          <p:cNvGrpSpPr/>
          <p:nvPr/>
        </p:nvGrpSpPr>
        <p:grpSpPr>
          <a:xfrm>
            <a:off x="4955559" y="1181327"/>
            <a:ext cx="1033652" cy="1598064"/>
            <a:chOff x="7478257" y="2193205"/>
            <a:chExt cx="452893" cy="700189"/>
          </a:xfrm>
        </p:grpSpPr>
        <p:sp>
          <p:nvSpPr>
            <p:cNvPr id="163" name="Oval 162">
              <a:extLst>
                <a:ext uri="{FF2B5EF4-FFF2-40B4-BE49-F238E27FC236}">
                  <a16:creationId xmlns:a16="http://schemas.microsoft.com/office/drawing/2014/main" xmlns="" id="{4C5AABC9-36F0-408A-898D-9413B94E35B6}"/>
                </a:ext>
              </a:extLst>
            </p:cNvPr>
            <p:cNvSpPr/>
            <p:nvPr/>
          </p:nvSpPr>
          <p:spPr>
            <a:xfrm>
              <a:off x="7478257" y="2786413"/>
              <a:ext cx="452893" cy="106981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4" name="Freeform 17">
              <a:extLst>
                <a:ext uri="{FF2B5EF4-FFF2-40B4-BE49-F238E27FC236}">
                  <a16:creationId xmlns:a16="http://schemas.microsoft.com/office/drawing/2014/main" xmlns="" id="{7003277C-2D44-4FB9-8071-68E3F805B6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8257" y="2193205"/>
              <a:ext cx="452893" cy="646699"/>
            </a:xfrm>
            <a:custGeom>
              <a:avLst/>
              <a:gdLst>
                <a:gd name="T0" fmla="*/ 214 w 221"/>
                <a:gd name="T1" fmla="*/ 77 h 315"/>
                <a:gd name="T2" fmla="*/ 164 w 221"/>
                <a:gd name="T3" fmla="*/ 14 h 315"/>
                <a:gd name="T4" fmla="*/ 110 w 221"/>
                <a:gd name="T5" fmla="*/ 0 h 315"/>
                <a:gd name="T6" fmla="*/ 110 w 221"/>
                <a:gd name="T7" fmla="*/ 0 h 315"/>
                <a:gd name="T8" fmla="*/ 56 w 221"/>
                <a:gd name="T9" fmla="*/ 14 h 315"/>
                <a:gd name="T10" fmla="*/ 6 w 221"/>
                <a:gd name="T11" fmla="*/ 77 h 315"/>
                <a:gd name="T12" fmla="*/ 5 w 221"/>
                <a:gd name="T13" fmla="*/ 132 h 315"/>
                <a:gd name="T14" fmla="*/ 40 w 221"/>
                <a:gd name="T15" fmla="*/ 208 h 315"/>
                <a:gd name="T16" fmla="*/ 94 w 221"/>
                <a:gd name="T17" fmla="*/ 292 h 315"/>
                <a:gd name="T18" fmla="*/ 110 w 221"/>
                <a:gd name="T19" fmla="*/ 315 h 315"/>
                <a:gd name="T20" fmla="*/ 110 w 221"/>
                <a:gd name="T21" fmla="*/ 315 h 315"/>
                <a:gd name="T22" fmla="*/ 126 w 221"/>
                <a:gd name="T23" fmla="*/ 292 h 315"/>
                <a:gd name="T24" fmla="*/ 180 w 221"/>
                <a:gd name="T25" fmla="*/ 208 h 315"/>
                <a:gd name="T26" fmla="*/ 215 w 221"/>
                <a:gd name="T27" fmla="*/ 132 h 315"/>
                <a:gd name="T28" fmla="*/ 214 w 221"/>
                <a:gd name="T29" fmla="*/ 77 h 315"/>
                <a:gd name="T30" fmla="*/ 110 w 221"/>
                <a:gd name="T31" fmla="*/ 174 h 315"/>
                <a:gd name="T32" fmla="*/ 110 w 221"/>
                <a:gd name="T33" fmla="*/ 174 h 315"/>
                <a:gd name="T34" fmla="*/ 110 w 221"/>
                <a:gd name="T35" fmla="*/ 174 h 315"/>
                <a:gd name="T36" fmla="*/ 44 w 221"/>
                <a:gd name="T37" fmla="*/ 108 h 315"/>
                <a:gd name="T38" fmla="*/ 110 w 221"/>
                <a:gd name="T39" fmla="*/ 42 h 315"/>
                <a:gd name="T40" fmla="*/ 110 w 221"/>
                <a:gd name="T41" fmla="*/ 42 h 315"/>
                <a:gd name="T42" fmla="*/ 110 w 221"/>
                <a:gd name="T43" fmla="*/ 42 h 315"/>
                <a:gd name="T44" fmla="*/ 176 w 221"/>
                <a:gd name="T45" fmla="*/ 108 h 315"/>
                <a:gd name="T46" fmla="*/ 110 w 221"/>
                <a:gd name="T47" fmla="*/ 17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15">
                  <a:moveTo>
                    <a:pt x="214" y="77"/>
                  </a:moveTo>
                  <a:cubicBezTo>
                    <a:pt x="206" y="50"/>
                    <a:pt x="189" y="29"/>
                    <a:pt x="164" y="14"/>
                  </a:cubicBezTo>
                  <a:cubicBezTo>
                    <a:pt x="147" y="4"/>
                    <a:pt x="129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91" y="0"/>
                    <a:pt x="73" y="4"/>
                    <a:pt x="56" y="14"/>
                  </a:cubicBezTo>
                  <a:cubicBezTo>
                    <a:pt x="31" y="29"/>
                    <a:pt x="15" y="50"/>
                    <a:pt x="6" y="77"/>
                  </a:cubicBezTo>
                  <a:cubicBezTo>
                    <a:pt x="1" y="95"/>
                    <a:pt x="0" y="114"/>
                    <a:pt x="5" y="132"/>
                  </a:cubicBezTo>
                  <a:cubicBezTo>
                    <a:pt x="13" y="159"/>
                    <a:pt x="26" y="184"/>
                    <a:pt x="40" y="208"/>
                  </a:cubicBezTo>
                  <a:cubicBezTo>
                    <a:pt x="58" y="237"/>
                    <a:pt x="76" y="264"/>
                    <a:pt x="94" y="292"/>
                  </a:cubicBezTo>
                  <a:cubicBezTo>
                    <a:pt x="99" y="300"/>
                    <a:pt x="104" y="307"/>
                    <a:pt x="110" y="315"/>
                  </a:cubicBezTo>
                  <a:cubicBezTo>
                    <a:pt x="110" y="315"/>
                    <a:pt x="110" y="315"/>
                    <a:pt x="110" y="315"/>
                  </a:cubicBezTo>
                  <a:cubicBezTo>
                    <a:pt x="116" y="307"/>
                    <a:pt x="121" y="300"/>
                    <a:pt x="126" y="292"/>
                  </a:cubicBezTo>
                  <a:cubicBezTo>
                    <a:pt x="144" y="264"/>
                    <a:pt x="163" y="237"/>
                    <a:pt x="180" y="208"/>
                  </a:cubicBezTo>
                  <a:cubicBezTo>
                    <a:pt x="194" y="184"/>
                    <a:pt x="207" y="159"/>
                    <a:pt x="215" y="132"/>
                  </a:cubicBezTo>
                  <a:cubicBezTo>
                    <a:pt x="221" y="114"/>
                    <a:pt x="220" y="95"/>
                    <a:pt x="214" y="77"/>
                  </a:cubicBezTo>
                  <a:close/>
                  <a:moveTo>
                    <a:pt x="110" y="174"/>
                  </a:moveTo>
                  <a:cubicBezTo>
                    <a:pt x="110" y="174"/>
                    <a:pt x="110" y="174"/>
                    <a:pt x="110" y="174"/>
                  </a:cubicBezTo>
                  <a:cubicBezTo>
                    <a:pt x="110" y="174"/>
                    <a:pt x="110" y="174"/>
                    <a:pt x="110" y="174"/>
                  </a:cubicBezTo>
                  <a:cubicBezTo>
                    <a:pt x="74" y="174"/>
                    <a:pt x="44" y="145"/>
                    <a:pt x="44" y="108"/>
                  </a:cubicBezTo>
                  <a:cubicBezTo>
                    <a:pt x="44" y="72"/>
                    <a:pt x="74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47" y="42"/>
                    <a:pt x="176" y="72"/>
                    <a:pt x="176" y="108"/>
                  </a:cubicBezTo>
                  <a:cubicBezTo>
                    <a:pt x="176" y="145"/>
                    <a:pt x="147" y="174"/>
                    <a:pt x="110" y="17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xmlns="" id="{40B7FA44-8389-46FF-A2DC-574DD85B98DA}"/>
              </a:ext>
            </a:extLst>
          </p:cNvPr>
          <p:cNvGrpSpPr/>
          <p:nvPr/>
        </p:nvGrpSpPr>
        <p:grpSpPr>
          <a:xfrm>
            <a:off x="8771094" y="303470"/>
            <a:ext cx="880050" cy="1360590"/>
            <a:chOff x="7478257" y="2193205"/>
            <a:chExt cx="452893" cy="700189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xmlns="" id="{45A559E3-C492-4D22-9072-FDAE059F2E68}"/>
                </a:ext>
              </a:extLst>
            </p:cNvPr>
            <p:cNvSpPr/>
            <p:nvPr/>
          </p:nvSpPr>
          <p:spPr>
            <a:xfrm>
              <a:off x="7478257" y="2786413"/>
              <a:ext cx="452893" cy="106981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7" name="Freeform 17">
              <a:extLst>
                <a:ext uri="{FF2B5EF4-FFF2-40B4-BE49-F238E27FC236}">
                  <a16:creationId xmlns:a16="http://schemas.microsoft.com/office/drawing/2014/main" xmlns="" id="{8FBB1C22-916D-4D88-9014-DFEC36C03C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8257" y="2193205"/>
              <a:ext cx="452893" cy="646699"/>
            </a:xfrm>
            <a:custGeom>
              <a:avLst/>
              <a:gdLst>
                <a:gd name="T0" fmla="*/ 214 w 221"/>
                <a:gd name="T1" fmla="*/ 77 h 315"/>
                <a:gd name="T2" fmla="*/ 164 w 221"/>
                <a:gd name="T3" fmla="*/ 14 h 315"/>
                <a:gd name="T4" fmla="*/ 110 w 221"/>
                <a:gd name="T5" fmla="*/ 0 h 315"/>
                <a:gd name="T6" fmla="*/ 110 w 221"/>
                <a:gd name="T7" fmla="*/ 0 h 315"/>
                <a:gd name="T8" fmla="*/ 56 w 221"/>
                <a:gd name="T9" fmla="*/ 14 h 315"/>
                <a:gd name="T10" fmla="*/ 6 w 221"/>
                <a:gd name="T11" fmla="*/ 77 h 315"/>
                <a:gd name="T12" fmla="*/ 5 w 221"/>
                <a:gd name="T13" fmla="*/ 132 h 315"/>
                <a:gd name="T14" fmla="*/ 40 w 221"/>
                <a:gd name="T15" fmla="*/ 208 h 315"/>
                <a:gd name="T16" fmla="*/ 94 w 221"/>
                <a:gd name="T17" fmla="*/ 292 h 315"/>
                <a:gd name="T18" fmla="*/ 110 w 221"/>
                <a:gd name="T19" fmla="*/ 315 h 315"/>
                <a:gd name="T20" fmla="*/ 110 w 221"/>
                <a:gd name="T21" fmla="*/ 315 h 315"/>
                <a:gd name="T22" fmla="*/ 126 w 221"/>
                <a:gd name="T23" fmla="*/ 292 h 315"/>
                <a:gd name="T24" fmla="*/ 180 w 221"/>
                <a:gd name="T25" fmla="*/ 208 h 315"/>
                <a:gd name="T26" fmla="*/ 215 w 221"/>
                <a:gd name="T27" fmla="*/ 132 h 315"/>
                <a:gd name="T28" fmla="*/ 214 w 221"/>
                <a:gd name="T29" fmla="*/ 77 h 315"/>
                <a:gd name="T30" fmla="*/ 110 w 221"/>
                <a:gd name="T31" fmla="*/ 174 h 315"/>
                <a:gd name="T32" fmla="*/ 110 w 221"/>
                <a:gd name="T33" fmla="*/ 174 h 315"/>
                <a:gd name="T34" fmla="*/ 110 w 221"/>
                <a:gd name="T35" fmla="*/ 174 h 315"/>
                <a:gd name="T36" fmla="*/ 44 w 221"/>
                <a:gd name="T37" fmla="*/ 108 h 315"/>
                <a:gd name="T38" fmla="*/ 110 w 221"/>
                <a:gd name="T39" fmla="*/ 42 h 315"/>
                <a:gd name="T40" fmla="*/ 110 w 221"/>
                <a:gd name="T41" fmla="*/ 42 h 315"/>
                <a:gd name="T42" fmla="*/ 110 w 221"/>
                <a:gd name="T43" fmla="*/ 42 h 315"/>
                <a:gd name="T44" fmla="*/ 176 w 221"/>
                <a:gd name="T45" fmla="*/ 108 h 315"/>
                <a:gd name="T46" fmla="*/ 110 w 221"/>
                <a:gd name="T47" fmla="*/ 17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15">
                  <a:moveTo>
                    <a:pt x="214" y="77"/>
                  </a:moveTo>
                  <a:cubicBezTo>
                    <a:pt x="206" y="50"/>
                    <a:pt x="189" y="29"/>
                    <a:pt x="164" y="14"/>
                  </a:cubicBezTo>
                  <a:cubicBezTo>
                    <a:pt x="147" y="4"/>
                    <a:pt x="129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91" y="0"/>
                    <a:pt x="73" y="4"/>
                    <a:pt x="56" y="14"/>
                  </a:cubicBezTo>
                  <a:cubicBezTo>
                    <a:pt x="31" y="29"/>
                    <a:pt x="15" y="50"/>
                    <a:pt x="6" y="77"/>
                  </a:cubicBezTo>
                  <a:cubicBezTo>
                    <a:pt x="1" y="95"/>
                    <a:pt x="0" y="114"/>
                    <a:pt x="5" y="132"/>
                  </a:cubicBezTo>
                  <a:cubicBezTo>
                    <a:pt x="13" y="159"/>
                    <a:pt x="26" y="184"/>
                    <a:pt x="40" y="208"/>
                  </a:cubicBezTo>
                  <a:cubicBezTo>
                    <a:pt x="58" y="237"/>
                    <a:pt x="76" y="264"/>
                    <a:pt x="94" y="292"/>
                  </a:cubicBezTo>
                  <a:cubicBezTo>
                    <a:pt x="99" y="300"/>
                    <a:pt x="104" y="307"/>
                    <a:pt x="110" y="315"/>
                  </a:cubicBezTo>
                  <a:cubicBezTo>
                    <a:pt x="110" y="315"/>
                    <a:pt x="110" y="315"/>
                    <a:pt x="110" y="315"/>
                  </a:cubicBezTo>
                  <a:cubicBezTo>
                    <a:pt x="116" y="307"/>
                    <a:pt x="121" y="300"/>
                    <a:pt x="126" y="292"/>
                  </a:cubicBezTo>
                  <a:cubicBezTo>
                    <a:pt x="144" y="264"/>
                    <a:pt x="163" y="237"/>
                    <a:pt x="180" y="208"/>
                  </a:cubicBezTo>
                  <a:cubicBezTo>
                    <a:pt x="194" y="184"/>
                    <a:pt x="207" y="159"/>
                    <a:pt x="215" y="132"/>
                  </a:cubicBezTo>
                  <a:cubicBezTo>
                    <a:pt x="221" y="114"/>
                    <a:pt x="220" y="95"/>
                    <a:pt x="214" y="77"/>
                  </a:cubicBezTo>
                  <a:close/>
                  <a:moveTo>
                    <a:pt x="110" y="174"/>
                  </a:moveTo>
                  <a:cubicBezTo>
                    <a:pt x="110" y="174"/>
                    <a:pt x="110" y="174"/>
                    <a:pt x="110" y="174"/>
                  </a:cubicBezTo>
                  <a:cubicBezTo>
                    <a:pt x="110" y="174"/>
                    <a:pt x="110" y="174"/>
                    <a:pt x="110" y="174"/>
                  </a:cubicBezTo>
                  <a:cubicBezTo>
                    <a:pt x="74" y="174"/>
                    <a:pt x="44" y="145"/>
                    <a:pt x="44" y="108"/>
                  </a:cubicBezTo>
                  <a:cubicBezTo>
                    <a:pt x="44" y="72"/>
                    <a:pt x="74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47" y="42"/>
                    <a:pt x="176" y="72"/>
                    <a:pt x="176" y="108"/>
                  </a:cubicBezTo>
                  <a:cubicBezTo>
                    <a:pt x="176" y="145"/>
                    <a:pt x="147" y="174"/>
                    <a:pt x="110" y="17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2F39"/>
                </a:solidFill>
              </a:endParaRPr>
            </a:p>
          </p:txBody>
        </p:sp>
      </p:grpSp>
      <p:sp>
        <p:nvSpPr>
          <p:cNvPr id="168" name="TextBox 167">
            <a:extLst>
              <a:ext uri="{FF2B5EF4-FFF2-40B4-BE49-F238E27FC236}">
                <a16:creationId xmlns:a16="http://schemas.microsoft.com/office/drawing/2014/main" xmlns="" id="{B67F2147-4484-40D5-B546-A8F47DFE51AF}"/>
              </a:ext>
            </a:extLst>
          </p:cNvPr>
          <p:cNvSpPr txBox="1"/>
          <p:nvPr/>
        </p:nvSpPr>
        <p:spPr>
          <a:xfrm>
            <a:off x="2145346" y="4129219"/>
            <a:ext cx="103365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5000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01</a:t>
            </a:r>
            <a:endParaRPr lang="en-GB" sz="5000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xmlns="" id="{34D2F6EE-113C-450F-8387-5A25F3043BEA}"/>
              </a:ext>
            </a:extLst>
          </p:cNvPr>
          <p:cNvSpPr txBox="1"/>
          <p:nvPr/>
        </p:nvSpPr>
        <p:spPr>
          <a:xfrm>
            <a:off x="7655762" y="2784847"/>
            <a:ext cx="10336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000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02</a:t>
            </a:r>
            <a:endParaRPr lang="en-GB" sz="4000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xmlns="" id="{2A81A2BA-1F7F-4BD4-80CB-D4E689347B7E}"/>
              </a:ext>
            </a:extLst>
          </p:cNvPr>
          <p:cNvSpPr txBox="1"/>
          <p:nvPr/>
        </p:nvSpPr>
        <p:spPr>
          <a:xfrm>
            <a:off x="4941744" y="1351079"/>
            <a:ext cx="1033652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3500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03</a:t>
            </a:r>
            <a:endParaRPr lang="en-GB" sz="3500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xmlns="" id="{5887FBB0-9FCD-4095-A184-DBD7FB1DD22E}"/>
              </a:ext>
            </a:extLst>
          </p:cNvPr>
          <p:cNvSpPr txBox="1"/>
          <p:nvPr/>
        </p:nvSpPr>
        <p:spPr>
          <a:xfrm>
            <a:off x="8711957" y="448926"/>
            <a:ext cx="10336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3000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04</a:t>
            </a:r>
            <a:endParaRPr lang="en-GB" sz="3000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xmlns="" id="{BF02C3D4-8338-4FF8-A1C8-C6390D4E80A8}"/>
              </a:ext>
            </a:extLst>
          </p:cNvPr>
          <p:cNvSpPr txBox="1"/>
          <p:nvPr/>
        </p:nvSpPr>
        <p:spPr>
          <a:xfrm>
            <a:off x="246935" y="3076010"/>
            <a:ext cx="242311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ru-RU" sz="2000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Определение собственных дефицитов</a:t>
            </a:r>
          </a:p>
          <a:p>
            <a:pPr algn="just">
              <a:defRPr/>
            </a:pPr>
            <a:r>
              <a:rPr lang="ru-RU" sz="2000" b="1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Статус: искатель</a:t>
            </a:r>
            <a:endParaRPr lang="en-GB" sz="2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xmlns="" id="{9054FD7B-D1AA-4AA9-9961-99A55CE36CA8}"/>
              </a:ext>
            </a:extLst>
          </p:cNvPr>
          <p:cNvSpPr txBox="1"/>
          <p:nvPr/>
        </p:nvSpPr>
        <p:spPr>
          <a:xfrm>
            <a:off x="1263222" y="1654279"/>
            <a:ext cx="35009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ru-RU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Защита собственного проекта и апробация на рабочем месте</a:t>
            </a:r>
          </a:p>
          <a:p>
            <a:pPr algn="just">
              <a:defRPr/>
            </a:pPr>
            <a:r>
              <a:rPr lang="ru-RU" b="1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Статус: разработчик образовательного контента</a:t>
            </a:r>
            <a:endParaRPr lang="en-GB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xmlns="" id="{3C1B6BF5-2395-48D1-8167-2E655E71AE64}"/>
              </a:ext>
            </a:extLst>
          </p:cNvPr>
          <p:cNvSpPr txBox="1"/>
          <p:nvPr/>
        </p:nvSpPr>
        <p:spPr>
          <a:xfrm>
            <a:off x="9082140" y="3382900"/>
            <a:ext cx="249881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ru-RU" sz="2000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Выбор ДПО, обучение, стажировка</a:t>
            </a:r>
          </a:p>
          <a:p>
            <a:pPr algn="just">
              <a:defRPr/>
            </a:pPr>
            <a:endParaRPr lang="ru-RU" sz="2000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  <a:p>
            <a:pPr algn="just">
              <a:defRPr/>
            </a:pPr>
            <a:r>
              <a:rPr lang="ru-RU" sz="2000" b="1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Статус: активный участник, партнер</a:t>
            </a:r>
            <a:endParaRPr lang="en-GB" sz="2000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xmlns="" id="{33BF5552-C7F7-49A5-894F-2B394E6519A3}"/>
              </a:ext>
            </a:extLst>
          </p:cNvPr>
          <p:cNvSpPr txBox="1"/>
          <p:nvPr/>
        </p:nvSpPr>
        <p:spPr>
          <a:xfrm>
            <a:off x="9618396" y="1087013"/>
            <a:ext cx="24910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ru-RU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Масштабирование собственного опыта, консультирование, методическое сопровождение</a:t>
            </a:r>
          </a:p>
          <a:p>
            <a:pPr algn="just">
              <a:defRPr/>
            </a:pPr>
            <a:r>
              <a:rPr lang="ru-RU" b="1" dirty="0">
                <a:solidFill>
                  <a:srgbClr val="282F39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Статус: учитель-методист</a:t>
            </a:r>
            <a:endParaRPr lang="en-GB" b="1" dirty="0">
              <a:solidFill>
                <a:srgbClr val="282F39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xmlns="" id="{0F1C02BF-ADCA-4784-82C1-18A60CAAAFAC}"/>
              </a:ext>
            </a:extLst>
          </p:cNvPr>
          <p:cNvSpPr/>
          <p:nvPr/>
        </p:nvSpPr>
        <p:spPr>
          <a:xfrm>
            <a:off x="340954" y="2916928"/>
            <a:ext cx="1754928" cy="855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xmlns="" id="{830A12B6-2C82-4BF0-A17A-4930AA6602B9}"/>
              </a:ext>
            </a:extLst>
          </p:cNvPr>
          <p:cNvSpPr/>
          <p:nvPr/>
        </p:nvSpPr>
        <p:spPr>
          <a:xfrm>
            <a:off x="2927139" y="1512131"/>
            <a:ext cx="1754928" cy="855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xmlns="" id="{B04BB237-9E0E-4CAD-9DCF-40C7C26E38F5}"/>
              </a:ext>
            </a:extLst>
          </p:cNvPr>
          <p:cNvSpPr/>
          <p:nvPr/>
        </p:nvSpPr>
        <p:spPr>
          <a:xfrm>
            <a:off x="9159226" y="3223818"/>
            <a:ext cx="1754928" cy="855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xmlns="" id="{46CE52EB-9596-4C92-8DBD-E4BF8F7C3889}"/>
              </a:ext>
            </a:extLst>
          </p:cNvPr>
          <p:cNvSpPr/>
          <p:nvPr/>
        </p:nvSpPr>
        <p:spPr>
          <a:xfrm>
            <a:off x="10140740" y="970263"/>
            <a:ext cx="1754928" cy="8558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xmlns="" id="{390438A8-61CD-4C65-B1D2-DC8208675E84}"/>
              </a:ext>
            </a:extLst>
          </p:cNvPr>
          <p:cNvSpPr/>
          <p:nvPr/>
        </p:nvSpPr>
        <p:spPr>
          <a:xfrm>
            <a:off x="11512283" y="243039"/>
            <a:ext cx="451117" cy="45111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GB" dirty="0">
                <a:solidFill>
                  <a:srgbClr val="FFFFFF"/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2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967788D9-7FC7-4E3E-8FDE-54B0B669220E}"/>
              </a:ext>
            </a:extLst>
          </p:cNvPr>
          <p:cNvSpPr txBox="1"/>
          <p:nvPr/>
        </p:nvSpPr>
        <p:spPr>
          <a:xfrm>
            <a:off x="0" y="6401986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dirty="0">
                <a:solidFill>
                  <a:srgbClr val="FFFFFF">
                    <a:lumMod val="65000"/>
                  </a:srgbClr>
                </a:solidFill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rPr>
              <a:t>www.yourwebsite.com</a:t>
            </a:r>
          </a:p>
        </p:txBody>
      </p:sp>
    </p:spTree>
    <p:extLst>
      <p:ext uri="{BB962C8B-B14F-4D97-AF65-F5344CB8AC3E}">
        <p14:creationId xmlns:p14="http://schemas.microsoft.com/office/powerpoint/2010/main" val="28191230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9E949A1-32BB-4548-90FC-72EE1310C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84" y="356260"/>
            <a:ext cx="10398033" cy="502366"/>
          </a:xfrm>
        </p:spPr>
        <p:txBody>
          <a:bodyPr>
            <a:no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чебно-методические пособия по формированию функциональной грамотности школьников</a:t>
            </a:r>
            <a:endParaRPr lang="ru-RU" sz="3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62D131BF-262D-40CE-B1E1-1EFC943F52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8091" y="1148759"/>
            <a:ext cx="7190745" cy="5113270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endParaRPr lang="ru-RU" dirty="0"/>
          </a:p>
          <a:p>
            <a:r>
              <a:rPr lang="ru-RU" sz="1800" dirty="0" smtClean="0"/>
              <a:t>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Геодемографические задачи как средство формирования компетенций функциональной грамотности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учащихся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южетные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и познавательные задачи по развитию функциональной грамотности (география) </a:t>
            </a: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иемы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и техники формирования функциональной грамотности средствами предметов естественнонаучного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цикла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Формирование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глобальных компетенций учащихся средствами общего географического образования: система познавательных разноуровневых задач</a:t>
            </a:r>
          </a:p>
          <a:p>
            <a:endParaRPr lang="ru-RU" dirty="0"/>
          </a:p>
        </p:txBody>
      </p:sp>
      <p:pic>
        <p:nvPicPr>
          <p:cNvPr id="6" name="Объект 5">
            <a:extLst>
              <a:ext uri="{FF2B5EF4-FFF2-40B4-BE49-F238E27FC236}">
                <a16:creationId xmlns="" xmlns:a16="http://schemas.microsoft.com/office/drawing/2014/main" id="{5CB31D3A-4E98-422F-B0B9-C2BA4BB9226F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2" cstate="print"/>
          <a:stretch>
            <a:fillRect/>
          </a:stretch>
        </p:blipFill>
        <p:spPr>
          <a:xfrm>
            <a:off x="7532429" y="1010563"/>
            <a:ext cx="3123912" cy="269483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48240161-1762-49E3-9325-814BDFD22B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6342" y="-44164"/>
            <a:ext cx="1515719" cy="137655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95C34DEC-6E14-4E0E-9B52-E8C0FD312A5E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691373" y="3383405"/>
            <a:ext cx="2424578" cy="3118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0336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азвание 1"/>
          <p:cNvSpPr txBox="1">
            <a:spLocks/>
          </p:cNvSpPr>
          <p:nvPr/>
        </p:nvSpPr>
        <p:spPr>
          <a:xfrm>
            <a:off x="772083" y="139587"/>
            <a:ext cx="9630461" cy="775244"/>
          </a:xfrm>
          <a:prstGeom prst="rect">
            <a:avLst/>
          </a:prstGeom>
        </p:spPr>
        <p:txBody>
          <a:bodyPr vert="horz" lIns="89525" tIns="44763" rIns="89525" bIns="44763" rtlCol="0" anchor="t" anchorCtr="0">
            <a:noAutofit/>
          </a:bodyPr>
          <a:lstStyle/>
          <a:p>
            <a:pPr algn="ctr" defTabSz="895228">
              <a:spcBef>
                <a:spcPct val="0"/>
              </a:spcBef>
              <a:defRPr/>
            </a:pPr>
            <a:endParaRPr lang="ru-RU" sz="1600" b="1" dirty="0">
              <a:solidFill>
                <a:srgbClr val="1F377B"/>
              </a:solidFill>
              <a:latin typeface="Arial Narrow" panose="020B0606020202030204" pitchFamily="34" charset="0"/>
              <a:ea typeface="Verdana" pitchFamily="34" charset="0"/>
              <a:cs typeface="Verdana" pitchFamily="34" charset="0"/>
            </a:endParaRPr>
          </a:p>
          <a:p>
            <a:pPr algn="ctr" defTabSz="895228">
              <a:spcBef>
                <a:spcPct val="0"/>
              </a:spcBef>
              <a:defRPr/>
            </a:pPr>
            <a:endParaRPr lang="ru-RU" sz="2400" b="1" dirty="0">
              <a:solidFill>
                <a:srgbClr val="1F377B"/>
              </a:solidFill>
              <a:latin typeface="Arial Narrow" panose="020B060602020203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FFDC0E1F-D9C6-4C1C-A00C-0FCFC6D4A4B7}"/>
              </a:ext>
            </a:extLst>
          </p:cNvPr>
          <p:cNvSpPr/>
          <p:nvPr/>
        </p:nvSpPr>
        <p:spPr>
          <a:xfrm>
            <a:off x="9345664" y="1572579"/>
            <a:ext cx="2818350" cy="474456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945" tIns="41473" rIns="82945" bIns="41473" rtlCol="0" anchor="t" anchorCtr="0"/>
          <a:lstStyle/>
          <a:p>
            <a:pPr defTabSz="829452">
              <a:defRPr/>
            </a:pPr>
            <a:endParaRPr lang="ru-RU" sz="1300" b="1" kern="0" dirty="0">
              <a:solidFill>
                <a:srgbClr val="1F377B"/>
              </a:solidFill>
              <a:latin typeface="Arial 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Название 1">
            <a:extLst>
              <a:ext uri="{FF2B5EF4-FFF2-40B4-BE49-F238E27FC236}">
                <a16:creationId xmlns="" xmlns:a16="http://schemas.microsoft.com/office/drawing/2014/main" id="{18476E13-B5AB-B177-24E9-E255F02D0D28}"/>
              </a:ext>
            </a:extLst>
          </p:cNvPr>
          <p:cNvSpPr txBox="1">
            <a:spLocks/>
          </p:cNvSpPr>
          <p:nvPr/>
        </p:nvSpPr>
        <p:spPr>
          <a:xfrm>
            <a:off x="218949" y="0"/>
            <a:ext cx="11701174" cy="1244389"/>
          </a:xfrm>
          <a:prstGeom prst="rect">
            <a:avLst/>
          </a:prstGeom>
        </p:spPr>
        <p:txBody>
          <a:bodyPr vert="horz" lIns="89525" tIns="44763" rIns="89525" bIns="44763" rtlCol="0" anchor="t" anchorCtr="0">
            <a:noAutofit/>
          </a:bodyPr>
          <a:lstStyle/>
          <a:p>
            <a:pPr algn="ctr" defTabSz="895228">
              <a:spcBef>
                <a:spcPct val="0"/>
              </a:spcBef>
              <a:defRPr/>
            </a:pPr>
            <a:endParaRPr lang="ru-RU" sz="2400" b="1" dirty="0">
              <a:solidFill>
                <a:srgbClr val="1F377B"/>
              </a:solidFill>
              <a:latin typeface="Arial Narrow" panose="020B060602020203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F5FB299-9369-55E9-C23D-A5D5710E110F}"/>
              </a:ext>
            </a:extLst>
          </p:cNvPr>
          <p:cNvSpPr txBox="1"/>
          <p:nvPr/>
        </p:nvSpPr>
        <p:spPr>
          <a:xfrm>
            <a:off x="357232" y="2216173"/>
            <a:ext cx="4355932" cy="367835"/>
          </a:xfrm>
          <a:prstGeom prst="rect">
            <a:avLst/>
          </a:prstGeom>
        </p:spPr>
        <p:txBody>
          <a:bodyPr vert="horz" lIns="89525" tIns="44763" rIns="89525" bIns="44763" rtlCol="0" anchor="t" anchorCtr="0">
            <a:noAutofit/>
          </a:bodyPr>
          <a:lstStyle>
            <a:defPPr>
              <a:defRPr lang="ru-RU"/>
            </a:defPPr>
            <a:lvl1pPr algn="ctr" defTabSz="986912">
              <a:spcBef>
                <a:spcPct val="0"/>
              </a:spcBef>
              <a:defRPr sz="2600" b="1">
                <a:solidFill>
                  <a:srgbClr val="1F377B"/>
                </a:solidFill>
                <a:latin typeface="Arial Narrow" panose="020B060602020203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algn="l" defTabSz="895228">
              <a:defRPr/>
            </a:pPr>
            <a:endParaRPr lang="ru-RU" sz="1600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55CB991F-8FCC-044D-B0C0-D4B2255261BE}"/>
              </a:ext>
            </a:extLst>
          </p:cNvPr>
          <p:cNvSpPr txBox="1"/>
          <p:nvPr/>
        </p:nvSpPr>
        <p:spPr>
          <a:xfrm>
            <a:off x="7429449" y="2124565"/>
            <a:ext cx="4405319" cy="367835"/>
          </a:xfrm>
          <a:prstGeom prst="rect">
            <a:avLst/>
          </a:prstGeom>
        </p:spPr>
        <p:txBody>
          <a:bodyPr vert="horz" lIns="89525" tIns="44763" rIns="89525" bIns="44763" rtlCol="0" anchor="t" anchorCtr="0">
            <a:noAutofit/>
          </a:bodyPr>
          <a:lstStyle>
            <a:defPPr>
              <a:defRPr lang="ru-RU"/>
            </a:defPPr>
            <a:lvl1pPr defTabSz="986912">
              <a:spcBef>
                <a:spcPct val="0"/>
              </a:spcBef>
              <a:defRPr b="1">
                <a:solidFill>
                  <a:srgbClr val="1F377B"/>
                </a:solidFill>
                <a:latin typeface="Arial Narrow" panose="020B060602020203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defTabSz="895228">
              <a:defRPr/>
            </a:pPr>
            <a:endParaRPr lang="ru-RU" sz="1600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686B11BB-7CAB-3471-5D0F-6019CE07DA35}"/>
              </a:ext>
            </a:extLst>
          </p:cNvPr>
          <p:cNvSpPr txBox="1"/>
          <p:nvPr/>
        </p:nvSpPr>
        <p:spPr>
          <a:xfrm>
            <a:off x="495516" y="2492400"/>
            <a:ext cx="5600484" cy="714698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defTabSz="829452">
              <a:defRPr/>
            </a:pPr>
            <a:endParaRPr lang="ru-RU" sz="1300" dirty="0">
              <a:solidFill>
                <a:prstClr val="black"/>
              </a:solidFill>
              <a:latin typeface="Arial "/>
              <a:ea typeface="Verdana" pitchFamily="34" charset="0"/>
            </a:endParaRPr>
          </a:p>
          <a:p>
            <a:pPr defTabSz="829452">
              <a:defRPr/>
            </a:pPr>
            <a:endParaRPr lang="ru-RU" sz="1300" dirty="0">
              <a:solidFill>
                <a:prstClr val="black"/>
              </a:solidFill>
              <a:latin typeface="Arial "/>
              <a:ea typeface="Verdana" pitchFamily="34" charset="0"/>
            </a:endParaRPr>
          </a:p>
          <a:p>
            <a:pPr defTabSz="829452">
              <a:defRPr/>
            </a:pPr>
            <a:r>
              <a:rPr lang="ru-RU" sz="1500" dirty="0">
                <a:solidFill>
                  <a:prstClr val="black"/>
                </a:solidFill>
                <a:latin typeface="Arial "/>
                <a:ea typeface="Verdana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1855237D-9657-BF5D-7710-2FA0945DD847}"/>
              </a:ext>
            </a:extLst>
          </p:cNvPr>
          <p:cNvSpPr txBox="1"/>
          <p:nvPr/>
        </p:nvSpPr>
        <p:spPr>
          <a:xfrm>
            <a:off x="6234284" y="2438315"/>
            <a:ext cx="5929730" cy="560810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defTabSz="829452">
              <a:defRPr/>
            </a:pPr>
            <a:endParaRPr lang="ru-RU" sz="1500" dirty="0">
              <a:solidFill>
                <a:prstClr val="black"/>
              </a:solidFill>
              <a:latin typeface="Arial "/>
              <a:ea typeface="Verdana" pitchFamily="34" charset="0"/>
            </a:endParaRPr>
          </a:p>
          <a:p>
            <a:pPr defTabSz="829452">
              <a:defRPr/>
            </a:pPr>
            <a:endParaRPr lang="ru-RU" sz="1500" dirty="0">
              <a:solidFill>
                <a:prstClr val="black"/>
              </a:solidFill>
              <a:latin typeface="Arial "/>
              <a:ea typeface="Verdana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FE90244-D628-0431-086B-A363D875CFA7}"/>
              </a:ext>
            </a:extLst>
          </p:cNvPr>
          <p:cNvSpPr txBox="1"/>
          <p:nvPr/>
        </p:nvSpPr>
        <p:spPr>
          <a:xfrm>
            <a:off x="365759" y="248194"/>
            <a:ext cx="8703339" cy="1237918"/>
          </a:xfrm>
          <a:prstGeom prst="rect">
            <a:avLst/>
          </a:prstGeom>
          <a:noFill/>
        </p:spPr>
        <p:txBody>
          <a:bodyPr wrap="square" lIns="82945" tIns="41473" rIns="82945" bIns="41473">
            <a:spAutoFit/>
          </a:bodyPr>
          <a:lstStyle/>
          <a:p>
            <a:pPr algn="ctr" defTabSz="829452">
              <a:defRPr/>
            </a:pPr>
            <a:r>
              <a:rPr lang="ru-RU" sz="2500" b="1" dirty="0">
                <a:solidFill>
                  <a:srgbClr val="1F377B"/>
                </a:solidFill>
                <a:latin typeface="Times New Roman" pitchFamily="18" charset="0"/>
                <a:ea typeface="Verdana" pitchFamily="34" charset="0"/>
                <a:cs typeface="Times New Roman" pitchFamily="18" charset="0"/>
              </a:rPr>
              <a:t>«Портфель» дополнительных профессиональных программ</a:t>
            </a:r>
            <a:r>
              <a:rPr lang="en-US" sz="2500" b="1" dirty="0">
                <a:solidFill>
                  <a:srgbClr val="1F377B"/>
                </a:solidFill>
                <a:latin typeface="Times New Roman" pitchFamily="18" charset="0"/>
                <a:ea typeface="Verdana" pitchFamily="34" charset="0"/>
                <a:cs typeface="Times New Roman" pitchFamily="18" charset="0"/>
              </a:rPr>
              <a:t> </a:t>
            </a:r>
            <a:r>
              <a:rPr lang="ru-RU" sz="2500" b="1" dirty="0">
                <a:solidFill>
                  <a:srgbClr val="1F377B"/>
                </a:solidFill>
                <a:latin typeface="Times New Roman" pitchFamily="18" charset="0"/>
                <a:ea typeface="Verdana" pitchFamily="34" charset="0"/>
                <a:cs typeface="Times New Roman" pitchFamily="18" charset="0"/>
              </a:rPr>
              <a:t>по формированию функциональной грамотности школьник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F11FD2FC-0B5A-A9B9-D56C-8B2B84A06D50}"/>
              </a:ext>
            </a:extLst>
          </p:cNvPr>
          <p:cNvSpPr txBox="1"/>
          <p:nvPr/>
        </p:nvSpPr>
        <p:spPr>
          <a:xfrm>
            <a:off x="252650" y="1244388"/>
            <a:ext cx="7018761" cy="6154970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endParaRPr lang="ru-RU" sz="1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ДПП «Инновационные подходы в преподавании филологических дисциплин с учетом когнитивных особенностей современного школьника»</a:t>
            </a:r>
            <a:r>
              <a:rPr lang="en-US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 (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электронный курс)</a:t>
            </a:r>
          </a:p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ДПП «Медиапроектные технологии в преподавании предметной области “Филология” в школе» (электронный курс)</a:t>
            </a:r>
          </a:p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ДПП «Модернизация содержания и технологий обучения химии с целью развития функциональной грамотности обучающихся» (электронный курс)</a:t>
            </a:r>
          </a:p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ДПП «Читательская грамотность: приемы работы с множественными историко-обществоведческими текстами в цифровой среде и социальной коммуникации» (электронный курс)</a:t>
            </a:r>
          </a:p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ДПП Куратор контента – новая роль педагога (учителя) в цифровой педагогике» (электронный курс)</a:t>
            </a:r>
          </a:p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ДПП «Цифровой инструментарий и дизайн в профессиональной деятельности учителя географии» (электронный курс)</a:t>
            </a:r>
          </a:p>
          <a:p>
            <a:pPr algn="just" defTabSz="829452">
              <a:lnSpc>
                <a:spcPct val="107000"/>
              </a:lnSpc>
              <a:spcAft>
                <a:spcPts val="726"/>
              </a:spcAft>
              <a:defRPr/>
            </a:pPr>
            <a:endParaRPr lang="ru-RU" sz="1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08390" algn="just" defTabSz="829452">
              <a:lnSpc>
                <a:spcPct val="150000"/>
              </a:lnSpc>
              <a:defRPr/>
            </a:pPr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9204" indent="-259204" defTabSz="829452">
              <a:buFont typeface="Arial" panose="020B0604020202020204" pitchFamily="34" charset="0"/>
              <a:buChar char="•"/>
              <a:defRPr/>
            </a:pPr>
            <a:endParaRPr lang="ru-RU" sz="1500" dirty="0">
              <a:solidFill>
                <a:prstClr val="black"/>
              </a:solidFill>
              <a:latin typeface="Arial "/>
              <a:ea typeface="Verdana" pitchFamily="34" charset="0"/>
            </a:endParaRPr>
          </a:p>
          <a:p>
            <a:pPr defTabSz="829452">
              <a:defRPr/>
            </a:pPr>
            <a:r>
              <a:rPr lang="ru-RU" sz="1500" dirty="0">
                <a:solidFill>
                  <a:prstClr val="black"/>
                </a:solidFill>
                <a:latin typeface="Arial "/>
                <a:ea typeface="Verdana" pitchFamily="34" charset="0"/>
              </a:rPr>
              <a:t> </a:t>
            </a:r>
          </a:p>
          <a:p>
            <a:pPr defTabSz="829452">
              <a:defRPr/>
            </a:pPr>
            <a:r>
              <a:rPr lang="ru-RU" sz="1500" dirty="0">
                <a:solidFill>
                  <a:prstClr val="black"/>
                </a:solidFill>
                <a:latin typeface="Arial "/>
                <a:ea typeface="Verdana" pitchFamily="34" charset="0"/>
              </a:rPr>
              <a:t>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3F5F6221-C0D1-4D6D-9302-8423836C779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02543" y="77666"/>
            <a:ext cx="1517579" cy="137708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238B0F31-CEF9-4E9F-A255-5EA9D238EC8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938433" y="3549913"/>
            <a:ext cx="2247806" cy="318656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5813CCE0-0070-43FF-A049-9A1EB735A895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65648" y="1510804"/>
            <a:ext cx="3294764" cy="2902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2147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69B1FF0-C58B-41CD-80EC-4BA07C709B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194" y="169817"/>
            <a:ext cx="11171769" cy="1117139"/>
          </a:xfrm>
        </p:spPr>
        <p:txBody>
          <a:bodyPr>
            <a:normAutofit fontScale="90000"/>
          </a:bodyPr>
          <a:lstStyle/>
          <a:p>
            <a:r>
              <a:rPr lang="ru-RU" sz="31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«Портфель» дополнительных профессиональных программ по формированию функциональной грамотности школьников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AEE3654-3975-4037-9E5F-915554BF86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35132" y="1097280"/>
            <a:ext cx="6967138" cy="4872446"/>
          </a:xfrm>
        </p:spPr>
        <p:txBody>
          <a:bodyPr>
            <a:noAutofit/>
          </a:bodyPr>
          <a:lstStyle/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ДПП «Современные технологии формирования функциональной грамотности при изучении наук о Земле» (электронный курс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ДПП «Модели и практики формирования функциональной грамотности средствами предмета биологии» (электронный курс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ДПП «Технология самоорганизации математической деятельности школьников на основе адаптации современных достижений в науке (электронный курс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ДПП «Математика в игровой деятельности (деловые, дидактические и интеллектуальные игры)» (электронный курс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ДПП «Функциональная и цифровая грамотность школьника в творческом и уровневом освоении сложных математических объектов, процедур и явлений» (электронный курс)</a:t>
            </a:r>
          </a:p>
        </p:txBody>
      </p:sp>
      <p:pic>
        <p:nvPicPr>
          <p:cNvPr id="5" name="Объект 4">
            <a:extLst>
              <a:ext uri="{FF2B5EF4-FFF2-40B4-BE49-F238E27FC236}">
                <a16:creationId xmlns="" xmlns:a16="http://schemas.microsoft.com/office/drawing/2014/main" id="{5AA49E79-5F4C-4470-8DBA-5FA7D6EA8F70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2" cstate="print"/>
          <a:stretch>
            <a:fillRect/>
          </a:stretch>
        </p:blipFill>
        <p:spPr>
          <a:xfrm>
            <a:off x="9829656" y="1599667"/>
            <a:ext cx="2278611" cy="322746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A3E13E70-55E4-4EB9-B43A-DD0F97EACDD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10833" y="2738018"/>
            <a:ext cx="2418823" cy="319894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B9885D3-E1BD-43AB-BAB2-216EA1DD96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24253" y="-106876"/>
            <a:ext cx="1515719" cy="13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4055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7291150-CA1D-4601-ABE6-2128A67D0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233" y="506464"/>
            <a:ext cx="10642163" cy="781458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идактические решения по формированию функциональной грамотност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46D20E3-EE1D-4458-AC16-4452D09BA9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8092" y="1577340"/>
            <a:ext cx="5627823" cy="3963108"/>
          </a:xfrm>
        </p:spPr>
        <p:txBody>
          <a:bodyPr>
            <a:normAutofit lnSpcReduction="10000"/>
          </a:bodyPr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Разработано </a:t>
            </a:r>
            <a:r>
              <a:rPr lang="ru-RU" sz="2400" i="1" dirty="0">
                <a:latin typeface="Times New Roman" pitchFamily="18" charset="0"/>
                <a:cs typeface="Times New Roman" pitchFamily="18" charset="0"/>
              </a:rPr>
              <a:t>35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 новых дидактических решений по формированию читательской, математической, естественно-научной грамотности, которые представлены в 4 коллективных монографиях</a:t>
            </a:r>
          </a:p>
          <a:p>
            <a:endParaRPr lang="ru-RU" sz="24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В электронной библиотеке НМЦ «Центр трансфера образовательных технологий «Новая дидактика» для широкого использования в работе педагогами) </a:t>
            </a:r>
            <a:r>
              <a:rPr lang="ru-RU" sz="2400" dirty="0">
                <a:latin typeface="Times New Roman" pitchFamily="18" charset="0"/>
                <a:cs typeface="Times New Roman" pitchFamily="18" charset="0"/>
                <a:hlinkClick r:id="rId2"/>
              </a:rPr>
              <a:t>https://yspu.online/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813E8147-BB8B-4B5C-9AA5-6D3CEE28EAB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340552" y="1701544"/>
            <a:ext cx="3526231" cy="26948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F3675B41-BBA3-429B-AEB7-095826E711B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649134" y="3699399"/>
            <a:ext cx="3249664" cy="2694831"/>
          </a:xfrm>
          <a:prstGeom prst="rect">
            <a:avLst/>
          </a:prstGeom>
        </p:spPr>
      </p:pic>
      <p:sp>
        <p:nvSpPr>
          <p:cNvPr id="10" name="Объект 9">
            <a:extLst>
              <a:ext uri="{FF2B5EF4-FFF2-40B4-BE49-F238E27FC236}">
                <a16:creationId xmlns="" xmlns:a16="http://schemas.microsoft.com/office/drawing/2014/main" id="{0455D354-FA6A-437B-A380-9C704C7784C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695407" y="1577340"/>
            <a:ext cx="6244044" cy="4526280"/>
          </a:xfrm>
          <a:prstGeom prst="rect">
            <a:avLst/>
          </a:prstGeom>
        </p:spPr>
        <p:txBody>
          <a:bodyPr lIns="82945" tIns="41473" rIns="82945" bIns="41473"/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Монографии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E278909E-BC2F-4F8E-B55D-B103332DED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66170" y="-5700"/>
            <a:ext cx="1515719" cy="13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5683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5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17813" y="3203903"/>
            <a:ext cx="89557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>
                    <a:lumMod val="9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Спасибо за внимание</a:t>
            </a:r>
            <a:r>
              <a:rPr lang="ru-RU" sz="2800" dirty="0" smtClean="0">
                <a:solidFill>
                  <a:schemeClr val="bg1">
                    <a:lumMod val="9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!</a:t>
            </a:r>
          </a:p>
          <a:p>
            <a:pPr algn="ctr"/>
            <a:r>
              <a:rPr lang="ru-RU" sz="2800" dirty="0" smtClean="0">
                <a:solidFill>
                  <a:schemeClr val="bg1">
                    <a:lumMod val="9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Приглашаем к сотрудничеству</a:t>
            </a:r>
          </a:p>
          <a:p>
            <a:pPr algn="ctr"/>
            <a:r>
              <a:rPr lang="ru-RU" sz="2800" dirty="0" smtClean="0">
                <a:solidFill>
                  <a:schemeClr val="bg1">
                    <a:lumMod val="9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НМЦ «Центр трансфера образовательных технологий»</a:t>
            </a:r>
          </a:p>
          <a:p>
            <a:pPr algn="ctr"/>
            <a:r>
              <a:rPr lang="ru-RU" sz="2800" dirty="0" smtClean="0">
                <a:solidFill>
                  <a:schemeClr val="bg1">
                    <a:lumMod val="9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 </a:t>
            </a:r>
            <a:endParaRPr lang="ru-RU" sz="2800" dirty="0">
              <a:solidFill>
                <a:schemeClr val="bg1">
                  <a:lumMod val="95000"/>
                </a:schemeClr>
              </a:solidFill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4834919" y="2840200"/>
            <a:ext cx="2522160" cy="13461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958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82880" y="339635"/>
            <a:ext cx="11103430" cy="901336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ункциональная грамотность </a:t>
            </a:r>
            <a:b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современный урок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одержимое 4"/>
          <p:cNvSpPr>
            <a:spLocks noGrp="1"/>
          </p:cNvSpPr>
          <p:nvPr>
            <p:ph sz="half" idx="1"/>
          </p:nvPr>
        </p:nvSpPr>
        <p:spPr>
          <a:xfrm>
            <a:off x="339634" y="1838688"/>
            <a:ext cx="5680166" cy="4351338"/>
          </a:xfrm>
        </p:spPr>
        <p:txBody>
          <a:bodyPr/>
          <a:lstStyle/>
          <a:p>
            <a:pPr algn="just">
              <a:buNone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Сегодня мы посчитаем сколько раз мы можем встретить Новый Год», - сказал учитель и выдал ученикам географическую карту, информацию о технических данных самолетов и поездов</a:t>
            </a:r>
          </a:p>
          <a:p>
            <a:endParaRPr lang="ru-RU" dirty="0"/>
          </a:p>
        </p:txBody>
      </p:sp>
      <p:pic>
        <p:nvPicPr>
          <p:cNvPr id="96258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9360" y="1724297"/>
            <a:ext cx="5381897" cy="4715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 descr="http://yspu.org/images/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7054" y="235131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85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092200" y="1493699"/>
            <a:ext cx="63881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>
                <a:solidFill>
                  <a:prstClr val="white">
                    <a:lumMod val="9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Функциональная грамотность – вызов для современного образования</a:t>
            </a:r>
            <a:endParaRPr lang="ru-RU" sz="3200" dirty="0">
              <a:solidFill>
                <a:prstClr val="white">
                  <a:lumMod val="95000"/>
                </a:prst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8890000" y="3935998"/>
            <a:ext cx="4640549" cy="4640549"/>
          </a:xfrm>
          <a:prstGeom prst="ellipse">
            <a:avLst/>
          </a:prstGeom>
          <a:solidFill>
            <a:srgbClr val="FEC4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61" name="Группа 60"/>
          <p:cNvGrpSpPr/>
          <p:nvPr/>
        </p:nvGrpSpPr>
        <p:grpSpPr>
          <a:xfrm>
            <a:off x="1219200" y="550456"/>
            <a:ext cx="736600" cy="721568"/>
            <a:chOff x="6385560" y="-1974163"/>
            <a:chExt cx="1385169" cy="1356900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6385560" y="-1974163"/>
              <a:ext cx="1385169" cy="13569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71838" y="-1845805"/>
              <a:ext cx="1212611" cy="1100184"/>
            </a:xfrm>
            <a:prstGeom prst="rect">
              <a:avLst/>
            </a:prstGeom>
          </p:spPr>
        </p:pic>
      </p:grpSp>
      <p:pic>
        <p:nvPicPr>
          <p:cNvPr id="10" name="Picture 2" descr="http://yspu.org/images/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585" y="350131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2500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ноголикая грамотность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300446" y="1600200"/>
            <a:ext cx="11387618" cy="4495800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Многомодульная грамотность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- способность к переключению с одной знаковой системы на другую,  распознаванию, оцениванию, интерпретации и, если надо, перекодированию информационной структуры</a:t>
            </a:r>
          </a:p>
          <a:p>
            <a:pPr>
              <a:buFont typeface="Wingdings" pitchFamily="2" charset="2"/>
              <a:buChar char="Ø"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оли грамотность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- идеи расширенного культурного и кросскультурного контекста</a:t>
            </a:r>
          </a:p>
          <a:p>
            <a:pPr>
              <a:buFont typeface="Wingdings" pitchFamily="2" charset="2"/>
              <a:buChar char="Ø"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Мульти грамотность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–ситуативность, гибкий инструктаж, критический взгляд, практику преобразования системы смыслов и значений 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Транс грамотность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- способность читать, писать и взаимодействовать при помощи различных платформ, инструментов и СМИ, начиная со знаков и устных сигналов, включая рукописный текст, печатный текст, телевидение, радио и кино и заканчивая цифровыми социальными сетями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 descr="http://yspu.org/images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8282" y="232566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47141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>
              <a:lnSpc>
                <a:spcPct val="90000"/>
              </a:lnSpc>
              <a:defRPr/>
            </a:pP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Black" panose="02000000000000000000" pitchFamily="2" charset="0"/>
                <a:cs typeface="Times New Roman" pitchFamily="18" charset="0"/>
              </a:rPr>
              <a:t>Основные ожидания в школьном образован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41299" y="1700784"/>
            <a:ext cx="1159510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9088" indent="-319088" algn="just" eaLnBrk="0" fontAlgn="base" hangingPunct="0">
              <a:spcBef>
                <a:spcPts val="700"/>
              </a:spcBef>
              <a:spcAft>
                <a:spcPct val="0"/>
              </a:spcAft>
              <a:buClr>
                <a:schemeClr val="accent2"/>
              </a:buClr>
              <a:buSzPct val="60000"/>
              <a:buFont typeface="Wingdings" pitchFamily="2" charset="2"/>
              <a:buChar char="Ø"/>
            </a:pP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С практической точки зрения для результатов школьного образования важно чтобы приобретаемые знания и навыки обучающиеся могли переносить на разные области знания, за рамки школы (физический контекст), сохранять несколько лет после завершения обучения (временной контекст) и использовать при решении разных задач (функциональный контекст)</a:t>
            </a:r>
          </a:p>
        </p:txBody>
      </p:sp>
      <p:pic>
        <p:nvPicPr>
          <p:cNvPr id="4" name="Picture 2" descr="http://yspu.org/images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5037" y="245628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15336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39634" y="1844245"/>
            <a:ext cx="377516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Более </a:t>
            </a:r>
            <a:r>
              <a:rPr lang="ru-RU" sz="2800" b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20%</a:t>
            </a: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 педагогов имеют профессиональные дефициты в области читательской грамотности,</a:t>
            </a:r>
          </a:p>
          <a:p>
            <a:r>
              <a:rPr lang="ru-RU" sz="2800" b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30%</a:t>
            </a: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 естественно-научной и </a:t>
            </a:r>
            <a:r>
              <a:rPr lang="ru-RU" sz="2800" b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40%</a:t>
            </a: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 в математической 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4766" y="1645920"/>
            <a:ext cx="3247570" cy="27432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54405" y="1860371"/>
            <a:ext cx="339536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dirty="0" smtClean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r>
              <a:rPr lang="ru-RU" sz="2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Относительно </a:t>
            </a: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успешно идет формирование только навыка коммуникации. </a:t>
            </a:r>
          </a:p>
          <a:p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Беспокойство вызывает практика формирования навыков </a:t>
            </a:r>
            <a:r>
              <a:rPr lang="ru-RU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саморегуляции и решения проблем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354405" y="1672045"/>
            <a:ext cx="3065298" cy="235131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 flipV="1">
            <a:off x="7889966" y="1606730"/>
            <a:ext cx="2939143" cy="248195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 flipV="1">
            <a:off x="692332" y="4794069"/>
            <a:ext cx="3143068" cy="222068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380530" y="4789969"/>
            <a:ext cx="2781301" cy="208159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837714" y="4611188"/>
            <a:ext cx="3212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  <a:p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 flipV="1">
            <a:off x="7968343" y="4702629"/>
            <a:ext cx="3239587" cy="250852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54099" y="590620"/>
            <a:ext cx="99959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Black" panose="02000000000000000000" pitchFamily="2" charset="0"/>
                <a:cs typeface="Times New Roman" pitchFamily="18" charset="0"/>
              </a:rPr>
              <a:t>Исходная ситуация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994469" y="2063931"/>
            <a:ext cx="343553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Актуальные тренды: оценивание качества чтения и понимания текста в цифровом формате, критическое мышление, решение нестандартных проблем с множеством неизвестных</a:t>
            </a:r>
          </a:p>
        </p:txBody>
      </p:sp>
      <p:sp>
        <p:nvSpPr>
          <p:cNvPr id="19" name="Прямоугольник 18"/>
          <p:cNvSpPr/>
          <p:nvPr/>
        </p:nvSpPr>
        <p:spPr>
          <a:xfrm rot="10800000" flipV="1">
            <a:off x="1097279" y="5183167"/>
            <a:ext cx="948363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Задания по функциональной грамотности  включены в ОГЭ, ЕГЭ, ВПР</a:t>
            </a:r>
          </a:p>
          <a:p>
            <a:r>
              <a:rPr lang="ru-RU" sz="2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Понятие «функциональная грамотность» во ФГОС и ФОП</a:t>
            </a:r>
            <a:endParaRPr lang="ru-RU" sz="2000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</p:txBody>
      </p:sp>
      <p:pic>
        <p:nvPicPr>
          <p:cNvPr id="21" name="Picture 2" descr="http://yspu.org/images/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585" y="350131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534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6E282AD-E8A4-4B49-9B0D-86BECE51D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563" y="228600"/>
            <a:ext cx="10871200" cy="990600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90000"/>
              </a:lnSpc>
              <a:defRPr/>
            </a:pP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Black" panose="02000000000000000000" pitchFamily="2" charset="0"/>
                <a:cs typeface="Times New Roman" pitchFamily="18" charset="0"/>
              </a:rPr>
              <a:t>Главные детерминанты качества школьного образования</a:t>
            </a:r>
          </a:p>
        </p:txBody>
      </p:sp>
      <p:sp>
        <p:nvSpPr>
          <p:cNvPr id="18435" name="Содержимое 2">
            <a:extLst>
              <a:ext uri="{FF2B5EF4-FFF2-40B4-BE49-F238E27FC236}">
                <a16:creationId xmlns:a16="http://schemas.microsoft.com/office/drawing/2014/main" xmlns="" id="{0B3BC649-D91B-477F-951E-18679C86A983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817563" y="1600200"/>
            <a:ext cx="10871200" cy="4495800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Качество школьного образования в основном определяется качеством профессиональной подготовки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педагогов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80000"/>
              </a:lnSpc>
              <a:buFont typeface="Wingdings" pitchFamily="2" charset="2"/>
              <a:buChar char="Ø"/>
              <a:defRPr/>
            </a:pPr>
            <a:endParaRPr lang="ru-RU" sz="32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80000"/>
              </a:lnSpc>
              <a:buFont typeface="Wingdings" pitchFamily="2" charset="2"/>
              <a:buChar char="Ø"/>
              <a:defRPr/>
            </a:pP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Качество образовательных достижений школьников в основном определяется качеством учебных заданий, предлагаемых им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педагогами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8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67544" y="2308000"/>
            <a:ext cx="38642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Учитель не знает о своих дефицитах в области функциональной грамотности</a:t>
            </a:r>
          </a:p>
          <a:p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Самое трудное - познать себя, самое легкое - давать советы другим</a:t>
            </a:r>
            <a:r>
              <a:rPr lang="en-US" b="1" i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itchFamily="18" charset="0"/>
                <a:ea typeface="Roboto Thin" panose="02000000000000000000" pitchFamily="2" charset="0"/>
                <a:cs typeface="Times New Roman" pitchFamily="18" charset="0"/>
              </a:rPr>
              <a:t> </a:t>
            </a:r>
            <a:r>
              <a:rPr lang="ru-RU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(семь великих мудрецов)</a:t>
            </a:r>
          </a:p>
          <a:p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054099" y="1923858"/>
            <a:ext cx="2781300" cy="134619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60318" y="2165988"/>
            <a:ext cx="413460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Скорость изменений высокая, консерватизм мышления учителя высокий.</a:t>
            </a:r>
          </a:p>
          <a:p>
            <a:r>
              <a:rPr lang="ru-RU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Чтобы обучить другого, требуется больше ума, чем чтобы научиться самому. М. Монтень</a:t>
            </a:r>
          </a:p>
          <a:p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364723" y="1923858"/>
            <a:ext cx="2781300" cy="134619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54099" y="4248503"/>
            <a:ext cx="36066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Отсутствие новых дидактических решений и эффективных практик., эффективность, которых обоснована научно.</a:t>
            </a:r>
          </a:p>
          <a:p>
            <a:r>
              <a:rPr lang="ru-RU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«Наука – это генерал, а практика его солдаты» 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54099" y="4003177"/>
            <a:ext cx="2781300" cy="134619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64723" y="4248503"/>
            <a:ext cx="42764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Механизмы профессионального развития педагога пассивные, форматы традиционные</a:t>
            </a:r>
          </a:p>
          <a:p>
            <a:r>
              <a:rPr lang="ru-RU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Roboto Thin" panose="02000000000000000000" pitchFamily="2" charset="0"/>
                <a:ea typeface="Roboto Thin" panose="02000000000000000000" pitchFamily="2" charset="0"/>
              </a:rPr>
              <a:t>«Скажи мне и я забуду. Научи меня и я запомню. Вовлеки меня и я выучу» Бенджамин Франклин</a:t>
            </a:r>
          </a:p>
          <a:p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oboto Thin" panose="02000000000000000000" pitchFamily="2" charset="0"/>
              <a:ea typeface="Roboto Thin" panose="02000000000000000000" pitchFamily="2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364723" y="4003177"/>
            <a:ext cx="2781300" cy="134619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EC4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54099" y="590620"/>
            <a:ext cx="99959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Roboto Black" panose="02000000000000000000" pitchFamily="2" charset="0"/>
                <a:cs typeface="Times New Roman" pitchFamily="18" charset="0"/>
              </a:rPr>
              <a:t>Составляющие проблемы: почему?</a:t>
            </a:r>
          </a:p>
        </p:txBody>
      </p:sp>
      <p:pic>
        <p:nvPicPr>
          <p:cNvPr id="21" name="Picture 2" descr="http://yspu.org/images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2339" y="5588337"/>
            <a:ext cx="977563" cy="97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198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_rels/them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eme">
  <a:themeElements>
    <a:clrScheme name="Приветственная">
      <a:dk1>
        <a:srgbClr val="342A28"/>
      </a:dk1>
      <a:lt1>
        <a:srgbClr val="FFFFFF"/>
      </a:lt1>
      <a:dk2>
        <a:srgbClr val="72B7BA"/>
      </a:dk2>
      <a:lt2>
        <a:srgbClr val="FFFFFF"/>
      </a:lt2>
      <a:accent1>
        <a:srgbClr val="AADDDF"/>
      </a:accent1>
      <a:accent2>
        <a:srgbClr val="A9DCDE"/>
      </a:accent2>
      <a:accent3>
        <a:srgbClr val="AADDDF"/>
      </a:accent3>
      <a:accent4>
        <a:srgbClr val="9FB3FD"/>
      </a:accent4>
      <a:accent5>
        <a:srgbClr val="FFCFC5"/>
      </a:accent5>
      <a:accent6>
        <a:srgbClr val="D3EAFF"/>
      </a:accent6>
      <a:hlink>
        <a:srgbClr val="0563C1"/>
      </a:hlink>
      <a:folHlink>
        <a:srgbClr val="954F72"/>
      </a:folHlink>
    </a:clrScheme>
    <a:fontScheme name="Приветственная">
      <a:majorFont>
        <a:latin typeface="Raleway"/>
        <a:ea typeface=""/>
        <a:cs typeface=""/>
      </a:majorFont>
      <a:minorFont>
        <a:latin typeface="Roboto Thi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Theme" id="{A00DF97B-1DBD-4EFA-8C72-FBB0A4DC8B9B}" vid="{03DED492-9ECF-4C87-A9E5-1ADF1653D93B}"/>
    </a:ext>
  </a:extLst>
</a:theme>
</file>

<file path=ppt/theme/theme3.xml><?xml version="1.0" encoding="utf-8"?>
<a:theme xmlns:a="http://schemas.openxmlformats.org/drawingml/2006/main" name="1_Обычная">
  <a:themeElements>
    <a:clrScheme name="Обычная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Обычная">
  <a:themeElements>
    <a:clrScheme name="Обычная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Тема Office">
  <a:themeElements>
    <a:clrScheme name="Другая 6">
      <a:dk1>
        <a:sysClr val="windowText" lastClr="000000"/>
      </a:dk1>
      <a:lt1>
        <a:sysClr val="window" lastClr="FFFFFF"/>
      </a:lt1>
      <a:dk2>
        <a:srgbClr val="00458E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458E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Custom 5">
      <a:dk1>
        <a:srgbClr val="282F39"/>
      </a:dk1>
      <a:lt1>
        <a:srgbClr val="FFFFFF"/>
      </a:lt1>
      <a:dk2>
        <a:srgbClr val="000000"/>
      </a:dk2>
      <a:lt2>
        <a:srgbClr val="EEEEEE"/>
      </a:lt2>
      <a:accent1>
        <a:srgbClr val="C2C923"/>
      </a:accent1>
      <a:accent2>
        <a:srgbClr val="42AFB6"/>
      </a:accent2>
      <a:accent3>
        <a:srgbClr val="074D67"/>
      </a:accent3>
      <a:accent4>
        <a:srgbClr val="CB1B4A"/>
      </a:accent4>
      <a:accent5>
        <a:srgbClr val="FCB414"/>
      </a:accent5>
      <a:accent6>
        <a:srgbClr val="007A7D"/>
      </a:accent6>
      <a:hlink>
        <a:srgbClr val="1EB7EF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Обычная">
    <a:dk1>
      <a:sysClr val="windowText" lastClr="000000"/>
    </a:dk1>
    <a:lt1>
      <a:sysClr val="window" lastClr="FFFFFF"/>
    </a:lt1>
    <a:dk2>
      <a:srgbClr val="775F55"/>
    </a:dk2>
    <a:lt2>
      <a:srgbClr val="EBDDC3"/>
    </a:lt2>
    <a:accent1>
      <a:srgbClr val="94B6D2"/>
    </a:accent1>
    <a:accent2>
      <a:srgbClr val="DD8047"/>
    </a:accent2>
    <a:accent3>
      <a:srgbClr val="A5AB81"/>
    </a:accent3>
    <a:accent4>
      <a:srgbClr val="D8B25C"/>
    </a:accent4>
    <a:accent5>
      <a:srgbClr val="7BA79D"/>
    </a:accent5>
    <a:accent6>
      <a:srgbClr val="968C8C"/>
    </a:accent6>
    <a:hlink>
      <a:srgbClr val="F7B615"/>
    </a:hlink>
    <a:folHlink>
      <a:srgbClr val="704404"/>
    </a:folHlink>
  </a:clrScheme>
</a:themeOverride>
</file>

<file path=ppt/theme/themeOverride2.xml><?xml version="1.0" encoding="utf-8"?>
<a:themeOverride xmlns:a="http://schemas.openxmlformats.org/drawingml/2006/main">
  <a:clrScheme name="Обычная">
    <a:dk1>
      <a:sysClr val="windowText" lastClr="000000"/>
    </a:dk1>
    <a:lt1>
      <a:sysClr val="window" lastClr="FFFFFF"/>
    </a:lt1>
    <a:dk2>
      <a:srgbClr val="775F55"/>
    </a:dk2>
    <a:lt2>
      <a:srgbClr val="EBDDC3"/>
    </a:lt2>
    <a:accent1>
      <a:srgbClr val="94B6D2"/>
    </a:accent1>
    <a:accent2>
      <a:srgbClr val="DD8047"/>
    </a:accent2>
    <a:accent3>
      <a:srgbClr val="A5AB81"/>
    </a:accent3>
    <a:accent4>
      <a:srgbClr val="D8B25C"/>
    </a:accent4>
    <a:accent5>
      <a:srgbClr val="7BA79D"/>
    </a:accent5>
    <a:accent6>
      <a:srgbClr val="968C8C"/>
    </a:accent6>
    <a:hlink>
      <a:srgbClr val="F7B615"/>
    </a:hlink>
    <a:folHlink>
      <a:srgbClr val="704404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33</TotalTime>
  <Words>1869</Words>
  <Application>Microsoft Office PowerPoint</Application>
  <PresentationFormat>Произвольный</PresentationFormat>
  <Paragraphs>223</Paragraphs>
  <Slides>27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4" baseType="lpstr">
      <vt:lpstr>Тема Office</vt:lpstr>
      <vt:lpstr>1_Theme</vt:lpstr>
      <vt:lpstr>1_Обычная</vt:lpstr>
      <vt:lpstr>5_Обычная</vt:lpstr>
      <vt:lpstr>4_Тема Office</vt:lpstr>
      <vt:lpstr>Office Theme</vt:lpstr>
      <vt:lpstr>think-cell Slide</vt:lpstr>
      <vt:lpstr>Функциональная грамотность учителя: новые личностно-профессиональные роли учителя в условиях неопределенности, неоднозначности, противоречивости </vt:lpstr>
      <vt:lpstr>Функциональная грамотность есть жизнь</vt:lpstr>
      <vt:lpstr>Функциональная грамотность  и современный урок</vt:lpstr>
      <vt:lpstr>Презентация PowerPoint</vt:lpstr>
      <vt:lpstr>Многоликая грамотность</vt:lpstr>
      <vt:lpstr>Основные ожидания в школьном образовании</vt:lpstr>
      <vt:lpstr>Презентация PowerPoint</vt:lpstr>
      <vt:lpstr>Главные детерминанты качества школьного образования</vt:lpstr>
      <vt:lpstr>Презентация PowerPoint</vt:lpstr>
      <vt:lpstr>Презентация PowerPoint</vt:lpstr>
      <vt:lpstr>Новые ролевые позиции учител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ОСОБСТВОВАТЬ ПЕРЕВОДУ ЗНАНИЙ ИЗ ПАССИВНЫХ В АКТИВНЫЕ</vt:lpstr>
      <vt:lpstr>Протокол исследования дефицитов в области формирования функциональной грамотности</vt:lpstr>
      <vt:lpstr>Направления поиска дидактических решений</vt:lpstr>
      <vt:lpstr>Дидактические решения</vt:lpstr>
      <vt:lpstr>Презентация PowerPoint</vt:lpstr>
      <vt:lpstr>Учебно-методические пособия по формированию функциональной грамотности школьников</vt:lpstr>
      <vt:lpstr>Презентация PowerPoint</vt:lpstr>
      <vt:lpstr>«Портфель» дополнительных профессиональных программ по формированию функциональной грамотности школьников </vt:lpstr>
      <vt:lpstr>Дидактические решения по формированию функциональной грамотност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User1</cp:lastModifiedBy>
  <cp:revision>112</cp:revision>
  <dcterms:created xsi:type="dcterms:W3CDTF">2021-04-13T11:28:30Z</dcterms:created>
  <dcterms:modified xsi:type="dcterms:W3CDTF">2023-11-30T06:41:33Z</dcterms:modified>
</cp:coreProperties>
</file>